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695" r:id="rId5"/>
  </p:sldMasterIdLst>
  <p:notesMasterIdLst>
    <p:notesMasterId r:id="rId15"/>
  </p:notesMasterIdLst>
  <p:handoutMasterIdLst>
    <p:handoutMasterId r:id="rId16"/>
  </p:handoutMasterIdLst>
  <p:sldIdLst>
    <p:sldId id="3333" r:id="rId6"/>
    <p:sldId id="3310" r:id="rId7"/>
    <p:sldId id="491" r:id="rId8"/>
    <p:sldId id="490" r:id="rId9"/>
    <p:sldId id="3327" r:id="rId10"/>
    <p:sldId id="3332" r:id="rId11"/>
    <p:sldId id="3314" r:id="rId12"/>
    <p:sldId id="3311" r:id="rId13"/>
    <p:sldId id="3335" r:id="rId14"/>
  </p:sldIdLst>
  <p:sldSz cx="6858000" cy="5143500"/>
  <p:notesSz cx="6797675" cy="99282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160" userDrawn="1">
          <p15:clr>
            <a:srgbClr val="A4A3A4"/>
          </p15:clr>
        </p15:guide>
        <p15:guide id="2" orient="horz" pos="18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Автор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DA7"/>
    <a:srgbClr val="7FC1DB"/>
    <a:srgbClr val="58B6C0"/>
    <a:srgbClr val="3494BA"/>
    <a:srgbClr val="7A8C8E"/>
    <a:srgbClr val="84ACB6"/>
    <a:srgbClr val="CDDCE7"/>
    <a:srgbClr val="2683C6"/>
    <a:srgbClr val="AAD6E7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21" autoAdjust="0"/>
    <p:restoredTop sz="95407" autoAdjust="0"/>
  </p:normalViewPr>
  <p:slideViewPr>
    <p:cSldViewPr snapToGrid="0" snapToObjects="1" showGuides="1">
      <p:cViewPr varScale="1">
        <p:scale>
          <a:sx n="152" d="100"/>
          <a:sy n="152" d="100"/>
        </p:scale>
        <p:origin x="2004" y="132"/>
      </p:cViewPr>
      <p:guideLst>
        <p:guide pos="2160"/>
        <p:guide orient="horz" pos="1824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1128"/>
    </p:cViewPr>
  </p:sorterViewPr>
  <p:notesViewPr>
    <p:cSldViewPr snapToGrid="0" snapToObjects="1" showGuides="1">
      <p:cViewPr varScale="1">
        <p:scale>
          <a:sx n="59" d="100"/>
          <a:sy n="59" d="100"/>
        </p:scale>
        <p:origin x="3366" y="8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7FC1DB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C779-9244-A520-C87458B52A9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779-9244-A520-C87458B52A95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58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79-9244-A520-C87458B52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E5E5E5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0-E06C-6E4C-9BA9-C958BAE01B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E06C-6E4C-9BA9-C958BAE01B4C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6C-6E4C-9BA9-C958BAE01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E5E5E5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0-8843-3D48-A40F-50425E37C64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8843-3D48-A40F-50425E37C649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43-3D48-A40F-50425E37C6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3494BA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0145-354F-BF04-A01F8EB53A6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145-354F-BF04-A01F8EB53A61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45-354F-BF04-A01F8EB53A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chemeClr val="bg2"/>
            </a:solidFill>
          </c:spPr>
          <c:explosion val="9"/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0308-584A-9E30-0334B4718E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0308-584A-9E30-0334B4718E2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4-0308-584A-9E30-0334B4718E2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0308-584A-9E30-0334B4718E2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8-0308-584A-9E30-0334B4718E2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A-0308-584A-9E30-0334B4718E25}"/>
              </c:ext>
            </c:extLst>
          </c:dPt>
          <c:cat>
            <c:strRef>
              <c:f>Sheet1!$B$1:$G$1</c:f>
              <c:strCache>
                <c:ptCount val="6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308-584A-9E30-0334B4718E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57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r">
              <a:defRPr sz="1300"/>
            </a:lvl1pPr>
          </a:lstStyle>
          <a:p>
            <a:fld id="{A91F3830-4213-4B9A-91A3-B08E8DDCB05A}" type="datetimeFigureOut">
              <a:rPr lang="en-US" smtClean="0"/>
              <a:t>6/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57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r">
              <a:defRPr sz="1300"/>
            </a:lvl1pPr>
          </a:lstStyle>
          <a:p>
            <a:fld id="{C7BC9532-BDF2-4427-9F1A-735C5E8E38B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8124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57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r">
              <a:defRPr sz="1300"/>
            </a:lvl1pPr>
          </a:lstStyle>
          <a:p>
            <a:fld id="{30CA3642-0488-4ABC-8C4C-654590A97A46}" type="datetimeFigureOut">
              <a:rPr lang="en-US" smtClean="0"/>
              <a:t>6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88" tIns="46994" rIns="93988" bIns="4699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6247"/>
            <a:ext cx="5438140" cy="4466683"/>
          </a:xfrm>
          <a:prstGeom prst="rect">
            <a:avLst/>
          </a:prstGeom>
        </p:spPr>
        <p:txBody>
          <a:bodyPr vert="horz" lIns="93988" tIns="46994" rIns="93988" bIns="4699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57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r">
              <a:defRPr sz="1300"/>
            </a:lvl1pPr>
          </a:lstStyle>
          <a:p>
            <a:fld id="{0C4573DD-ABEC-409A-8FDD-B681077E60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717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296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301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03309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B42D4-0785-4D13-AA9E-E0C4A71F03BF}" type="datetime1">
              <a:rPr lang="en-US" smtClean="0"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6253" y="5786723"/>
            <a:ext cx="2171700" cy="692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onfidential information for the sole benefit and use of PwC’s client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10218" y="5514861"/>
            <a:ext cx="1600200" cy="92333"/>
          </a:xfrm>
          <a:prstGeom prst="rect">
            <a:avLst/>
          </a:prstGeom>
        </p:spPr>
        <p:txBody>
          <a:bodyPr/>
          <a:lstStyle/>
          <a:p>
            <a:fld id="{F06B2653-D1AD-46BA-BB88-3123B5BA212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3F711959-F964-4D51-8A0E-10967F0ED7BD}"/>
              </a:ext>
            </a:extLst>
          </p:cNvPr>
          <p:cNvSpPr>
            <a:spLocks/>
          </p:cNvSpPr>
          <p:nvPr userDrawn="1"/>
        </p:nvSpPr>
        <p:spPr bwMode="auto">
          <a:xfrm>
            <a:off x="2382" y="3231822"/>
            <a:ext cx="6855618" cy="15772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0070C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47D302-5DD5-45F6-A8A7-4034B76B1E2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03" y="3770782"/>
            <a:ext cx="621354" cy="621354"/>
          </a:xfrm>
          <a:prstGeom prst="rect">
            <a:avLst/>
          </a:prstGeom>
        </p:spPr>
      </p:pic>
      <p:pic>
        <p:nvPicPr>
          <p:cNvPr id="3" name="Picture 2" descr="A windmill next to a horse&#10;&#10;Description automatically generated">
            <a:extLst>
              <a:ext uri="{FF2B5EF4-FFF2-40B4-BE49-F238E27FC236}">
                <a16:creationId xmlns:a16="http://schemas.microsoft.com/office/drawing/2014/main" id="{930FFEDD-A67A-44B1-93D7-A09DDC39CF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15422" b="18295"/>
          <a:stretch/>
        </p:blipFill>
        <p:spPr>
          <a:xfrm>
            <a:off x="-2382" y="3176"/>
            <a:ext cx="6858000" cy="313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615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74922-5C12-4C9C-9D48-F17888630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1282700"/>
            <a:ext cx="5915025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A920B0-D4AC-46D1-842A-37285A6B2A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313" y="3441700"/>
            <a:ext cx="5915025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4793E-827E-4A77-9316-1F7C4D995D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C50E1C-933E-4028-8829-A8A62FABC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4569B-8218-4DD6-8C3F-BABB85280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141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3F275-60ED-4192-B325-2B389C39A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2C38AB-8B03-461E-89D5-9CD59949B9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488" y="1370013"/>
            <a:ext cx="2881312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CFCA28-021F-49BE-AD6E-5A3B8FC90A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05200" y="1370013"/>
            <a:ext cx="2881313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D160DC-2DC4-420D-9938-8CF3A23AD4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2C878E-CFFD-4FF3-93F6-4207641F08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E20FCD-5DB6-4A54-ACA4-649DB8409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4914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7C029-38A6-437A-8595-07161A769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80A486-1551-4E7A-9EC8-F1FE1DB7DB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075" y="1260475"/>
            <a:ext cx="2900363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2B1239-1DA2-4059-BA90-A46F26645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3075" y="1879600"/>
            <a:ext cx="2900363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443393-3EFD-4756-9001-739F388F31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471863" y="1260475"/>
            <a:ext cx="29162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2F634E-49B9-4C05-A275-172A51D1BD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71863" y="1879600"/>
            <a:ext cx="29162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20FFA7B-A7CE-4808-ABC9-08BAE9A533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B6B2B1-A47B-4EA1-9313-E0ACE771B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339FC49-5708-4339-9AB3-5A2CE3443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999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B1B08-DC81-4857-8FFD-71664A859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9AAC00-FE86-46C2-AB52-86A827F7C3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B634D1-1BF2-409C-B4BB-35269F37C1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4E542C-CE09-4BB0-86E5-08BCF9301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001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A9C46C-9293-4731-AC78-98E1BA0DDB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99D690-D57C-41CC-BDA2-D1BEB9499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0F658D-6023-4B68-A687-4EE28DC5E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6404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BEF7C-2D4C-48F8-B107-CE63BAE10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342900"/>
            <a:ext cx="2211388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8161BC-9203-40CD-83CE-B41C56C161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6238" y="741363"/>
            <a:ext cx="3471862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4B6B06-B38A-4FCB-A492-5A26BD70EC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3075" y="1543050"/>
            <a:ext cx="2211388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2FB30-13E8-476C-BE72-94E9F1960B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508E23-F6BA-426A-A18C-261765053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180944-35F8-4848-88F6-7D8BA0BF7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472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E443F-C738-410E-8ACD-9895CC0C9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342900"/>
            <a:ext cx="2211388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8B0DE3-0C6E-4ECD-B288-37616CD07D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916238" y="741363"/>
            <a:ext cx="3471862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92871E-C0BD-4BDA-BD52-C8C32F3D91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3075" y="1543050"/>
            <a:ext cx="2211388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3D6276-F2C8-4E84-856E-2A8854496A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B2F7AD-00E9-49BE-B9B0-B856A363A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D4D2E-5672-4AEE-A5D7-9FF7FDE54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70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B8488-9ABF-48E8-B193-4009F7F0C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B6C5A7-7DC9-4D38-B6B5-05C21529FA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1488" y="1370013"/>
            <a:ext cx="5915025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5E5DC5-1C7D-4BAC-A640-96D18CBE5F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2358B2-30EB-4A34-B003-FD2624F97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B8A5E8-8C2B-468A-8887-C2634E2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4988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CC1CE1-1FE8-4250-8F10-D013653BE5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4908550" y="274638"/>
            <a:ext cx="1477963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D0C65E-8637-4438-B598-1DC3E766F4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1488" y="274638"/>
            <a:ext cx="4284662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4FEC78-8A04-4AD2-BD7D-AB30E081B5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729A2A-E6CD-4C49-B88A-9851C00DC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5830E5-4499-453F-BF47-4EE0A69FD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4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47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172" y="607298"/>
            <a:ext cx="6393656" cy="2308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2172" y="1327147"/>
            <a:ext cx="5286886" cy="690189"/>
          </a:xfrm>
        </p:spPr>
        <p:txBody>
          <a:bodyPr/>
          <a:lstStyle>
            <a:lvl1pPr>
              <a:lnSpc>
                <a:spcPct val="95000"/>
              </a:lnSpc>
              <a:defRPr sz="15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0661D-DE1E-4BF9-80EF-8DB3C9A3473D}" type="datetime1">
              <a:rPr lang="en-US" smtClean="0"/>
              <a:t>6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3958" y="4809546"/>
            <a:ext cx="21717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5629" y="4785397"/>
            <a:ext cx="1600200" cy="92333"/>
          </a:xfrm>
          <a:prstGeom prst="rect">
            <a:avLst/>
          </a:prstGeom>
        </p:spPr>
        <p:txBody>
          <a:bodyPr/>
          <a:lstStyle/>
          <a:p>
            <a:fld id="{F06B2653-D1AD-46BA-BB88-3123B5BA21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49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81111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172" y="630380"/>
            <a:ext cx="6394847" cy="207749"/>
          </a:xfrm>
        </p:spPr>
        <p:txBody>
          <a:bodyPr/>
          <a:lstStyle>
            <a:lvl1pPr>
              <a:defRPr sz="135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08A1F-7376-4EC6-9094-B9CE4335FA17}" type="datetime1">
              <a:rPr lang="en-US" smtClean="0"/>
              <a:t>6/1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025629" y="4785397"/>
            <a:ext cx="1600200" cy="92333"/>
          </a:xfrm>
          <a:prstGeom prst="rect">
            <a:avLst/>
          </a:prstGeom>
        </p:spPr>
        <p:txBody>
          <a:bodyPr/>
          <a:lstStyle/>
          <a:p>
            <a:fld id="{F06B2653-D1AD-46BA-BB88-3123B5BA21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254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969319"/>
            <a:ext cx="6057900" cy="230832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14950" y="4857750"/>
            <a:ext cx="1145286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314950" y="4743450"/>
            <a:ext cx="1143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A91626D-6605-4E26-8A3B-1D753CADA3AB}" type="datetime1">
              <a:rPr lang="en-US" smtClean="0">
                <a:solidFill>
                  <a:srgbClr val="000000"/>
                </a:solidFill>
              </a:rPr>
              <a:t>6/1/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85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969319"/>
            <a:ext cx="6057900" cy="23083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00050" y="1314450"/>
            <a:ext cx="6057900" cy="63248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14950" y="4857750"/>
            <a:ext cx="1145286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5314950" y="4743450"/>
            <a:ext cx="1143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517758B-3E2D-4981-B179-77494E5BA822}" type="datetime1">
              <a:rPr lang="en-US" smtClean="0">
                <a:solidFill>
                  <a:srgbClr val="000000"/>
                </a:solidFill>
              </a:rPr>
              <a:t>6/1/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991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2057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1075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82">
            <a:extLst>
              <a:ext uri="{FF2B5EF4-FFF2-40B4-BE49-F238E27FC236}">
                <a16:creationId xmlns:a16="http://schemas.microsoft.com/office/drawing/2014/main" id="{00D4A7ED-97AB-4C84-941B-21A3CA85FFF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"/>
          <a:stretch/>
        </p:blipFill>
        <p:spPr bwMode="auto">
          <a:xfrm>
            <a:off x="1" y="-45718"/>
            <a:ext cx="6858000" cy="3805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5">
            <a:extLst>
              <a:ext uri="{FF2B5EF4-FFF2-40B4-BE49-F238E27FC236}">
                <a16:creationId xmlns:a16="http://schemas.microsoft.com/office/drawing/2014/main" id="{6A9A7A0C-5A78-4FC4-A831-5860DB8D3BD6}"/>
              </a:ext>
            </a:extLst>
          </p:cNvPr>
          <p:cNvSpPr>
            <a:spLocks/>
          </p:cNvSpPr>
          <p:nvPr userDrawn="1"/>
        </p:nvSpPr>
        <p:spPr bwMode="auto">
          <a:xfrm>
            <a:off x="2383" y="3886818"/>
            <a:ext cx="6855618" cy="15772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0070C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694F11-2C41-44E3-BE92-B7E6A8E826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04" y="4115101"/>
            <a:ext cx="621354" cy="62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6260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A8697-0FCD-4E0F-8523-D0318AFB4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F997F3-8A65-4459-BBCC-A8F6D835E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488" y="1370013"/>
            <a:ext cx="5915025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E8D075-8978-4479-9577-0DA60FE882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7854E7-0C67-4DF0-AFFE-D27D89A78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485A07-CE44-4D70-A35E-64E0D9FC7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51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1337556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172" y="607298"/>
            <a:ext cx="6394847" cy="2308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2172" y="1255152"/>
            <a:ext cx="6394847" cy="632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18053" y="5276020"/>
            <a:ext cx="16002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81B04A-812B-48D5-AF0C-55F6472893C6}" type="datetime1">
              <a:rPr lang="en-US" smtClean="0"/>
              <a:t>6/1/2022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CCF5D7-B0D8-4DA2-905A-B5F48C83D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2" y="-5297"/>
            <a:ext cx="6976759" cy="515409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EC6185-934B-4EE3-944F-BA12A6ADD287}"/>
              </a:ext>
            </a:extLst>
          </p:cNvPr>
          <p:cNvSpPr/>
          <p:nvPr userDrawn="1"/>
        </p:nvSpPr>
        <p:spPr>
          <a:xfrm>
            <a:off x="2382" y="-5298"/>
            <a:ext cx="6976759" cy="5154094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33388568-D1CB-45B6-AFF6-A21D10EA537F}"/>
              </a:ext>
            </a:extLst>
          </p:cNvPr>
          <p:cNvSpPr>
            <a:spLocks/>
          </p:cNvSpPr>
          <p:nvPr userDrawn="1"/>
        </p:nvSpPr>
        <p:spPr bwMode="auto">
          <a:xfrm>
            <a:off x="9097" y="701799"/>
            <a:ext cx="696332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0070C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9888C2-8522-4A00-9196-6F270C157BB8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" y="16834"/>
            <a:ext cx="621354" cy="62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62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0" r:id="rId2"/>
    <p:sldLayoutId id="2147483654" r:id="rId3"/>
    <p:sldLayoutId id="2147483690" r:id="rId4"/>
    <p:sldLayoutId id="2147483691" r:id="rId5"/>
    <p:sldLayoutId id="2147483693" r:id="rId6"/>
    <p:sldLayoutId id="2147483694" r:id="rId7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ct val="20000"/>
        </a:spcBef>
        <a:buFont typeface="Arial" panose="020B0604020202020204" pitchFamily="34" charset="0"/>
        <a:buNone/>
        <a:defRPr sz="1050" kern="1200">
          <a:solidFill>
            <a:schemeClr val="bg2"/>
          </a:solidFill>
          <a:latin typeface="+mj-lt"/>
          <a:ea typeface="+mn-ea"/>
          <a:cs typeface="+mn-cs"/>
        </a:defRPr>
      </a:lvl1pPr>
      <a:lvl2pPr marL="129779" indent="-129779" algn="l" defTabSz="6858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750" kern="1200">
          <a:solidFill>
            <a:schemeClr val="bg2"/>
          </a:solidFill>
          <a:latin typeface="+mn-lt"/>
          <a:ea typeface="+mn-ea"/>
          <a:cs typeface="+mn-cs"/>
        </a:defRPr>
      </a:lvl2pPr>
      <a:lvl3pPr marL="254794" indent="-125016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675" kern="1200">
          <a:solidFill>
            <a:schemeClr val="bg2"/>
          </a:solidFill>
          <a:latin typeface="+mn-lt"/>
          <a:ea typeface="+mn-ea"/>
          <a:cs typeface="+mn-cs"/>
        </a:defRPr>
      </a:lvl3pPr>
      <a:lvl4pPr marL="385763" indent="-130969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600" kern="1200">
          <a:solidFill>
            <a:schemeClr val="bg2"/>
          </a:solidFill>
          <a:latin typeface="+mn-lt"/>
          <a:ea typeface="+mn-ea"/>
          <a:cs typeface="+mn-cs"/>
        </a:defRPr>
      </a:lvl4pPr>
      <a:lvl5pPr marL="515541" indent="-129779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5">
          <p15:clr>
            <a:srgbClr val="F26B43"/>
          </p15:clr>
        </p15:guide>
        <p15:guide id="2" pos="4175">
          <p15:clr>
            <a:srgbClr val="F26B43"/>
          </p15:clr>
        </p15:guide>
        <p15:guide id="3" orient="horz" pos="2850">
          <p15:clr>
            <a:srgbClr val="F26B43"/>
          </p15:clr>
        </p15:guide>
        <p15:guide id="4" orient="horz" pos="8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505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8167" y="2560728"/>
            <a:ext cx="6393656" cy="492443"/>
          </a:xfrm>
        </p:spPr>
        <p:txBody>
          <a:bodyPr/>
          <a:lstStyle/>
          <a:p>
            <a:pPr algn="ctr"/>
            <a:r>
              <a:rPr lang="ru-RU" sz="1600" b="1" dirty="0" smtClean="0">
                <a:latin typeface="Century Gothic" panose="020B0502020202020204" pitchFamily="34" charset="0"/>
              </a:rPr>
              <a:t>Порядок заключения и исполнения условий договора о покупке электрической мощности с Единым закупщиком</a:t>
            </a:r>
            <a:endParaRPr lang="ru-RU" dirty="0"/>
          </a:p>
        </p:txBody>
      </p:sp>
      <p:sp>
        <p:nvSpPr>
          <p:cNvPr id="6" name="Нижний колонтитул 5"/>
          <p:cNvSpPr txBox="1">
            <a:spLocks noGrp="1"/>
          </p:cNvSpPr>
          <p:nvPr>
            <p:ph type="ftr" sz="quarter" idx="11"/>
          </p:nvPr>
        </p:nvSpPr>
        <p:spPr>
          <a:xfrm>
            <a:off x="2709145" y="4395373"/>
            <a:ext cx="21717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100" b="1" i="1" dirty="0" err="1" smtClean="0">
                <a:latin typeface="Century Gothic" panose="020B0502020202020204" pitchFamily="34" charset="0"/>
              </a:rPr>
              <a:t>Нур</a:t>
            </a:r>
            <a:r>
              <a:rPr lang="ru-RU" sz="1100" b="1" i="1" dirty="0" smtClean="0">
                <a:latin typeface="Century Gothic" panose="020B0502020202020204" pitchFamily="34" charset="0"/>
              </a:rPr>
              <a:t>-Султан</a:t>
            </a:r>
          </a:p>
          <a:p>
            <a:pPr algn="ctr">
              <a:spcAft>
                <a:spcPts val="600"/>
              </a:spcAft>
            </a:pPr>
            <a:r>
              <a:rPr lang="ru-RU" sz="1100" b="1" i="1" dirty="0" smtClean="0">
                <a:latin typeface="Century Gothic" panose="020B0502020202020204" pitchFamily="34" charset="0"/>
              </a:rPr>
              <a:t>2022 год</a:t>
            </a:r>
            <a:endParaRPr lang="ru-RU" sz="1100" b="1" i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545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015">
            <a:extLst>
              <a:ext uri="{FF2B5EF4-FFF2-40B4-BE49-F238E27FC236}">
                <a16:creationId xmlns:a16="http://schemas.microsoft.com/office/drawing/2014/main" id="{CBBDD796-A446-DC42-A48A-6975DB8B6DC2}"/>
              </a:ext>
            </a:extLst>
          </p:cNvPr>
          <p:cNvGrpSpPr/>
          <p:nvPr/>
        </p:nvGrpSpPr>
        <p:grpSpPr>
          <a:xfrm>
            <a:off x="5203141" y="1414106"/>
            <a:ext cx="812087" cy="1161731"/>
            <a:chOff x="0" y="860951"/>
            <a:chExt cx="1538018" cy="2200211"/>
          </a:xfrm>
          <a:solidFill>
            <a:schemeClr val="accent1">
              <a:lumMod val="50000"/>
              <a:lumOff val="50000"/>
            </a:schemeClr>
          </a:solidFill>
        </p:grpSpPr>
        <p:sp>
          <p:nvSpPr>
            <p:cNvPr id="41" name="Shape 1995">
              <a:extLst>
                <a:ext uri="{FF2B5EF4-FFF2-40B4-BE49-F238E27FC236}">
                  <a16:creationId xmlns:a16="http://schemas.microsoft.com/office/drawing/2014/main" id="{0A7353A8-5576-324F-A888-B1BF32F03EEB}"/>
                </a:ext>
              </a:extLst>
            </p:cNvPr>
            <p:cNvSpPr/>
            <p:nvPr/>
          </p:nvSpPr>
          <p:spPr>
            <a:xfrm>
              <a:off x="37820" y="2774000"/>
              <a:ext cx="1386737" cy="287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" name="Shape 1996">
              <a:extLst>
                <a:ext uri="{FF2B5EF4-FFF2-40B4-BE49-F238E27FC236}">
                  <a16:creationId xmlns:a16="http://schemas.microsoft.com/office/drawing/2014/main" id="{796E0860-6ECF-6D41-A36E-C4B82CE11609}"/>
                </a:ext>
              </a:extLst>
            </p:cNvPr>
            <p:cNvSpPr/>
            <p:nvPr/>
          </p:nvSpPr>
          <p:spPr>
            <a:xfrm>
              <a:off x="37820" y="2637518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" name="Shape 1997">
              <a:extLst>
                <a:ext uri="{FF2B5EF4-FFF2-40B4-BE49-F238E27FC236}">
                  <a16:creationId xmlns:a16="http://schemas.microsoft.com/office/drawing/2014/main" id="{F6266922-CAF5-474D-8CF4-3D716421EE28}"/>
                </a:ext>
              </a:extLst>
            </p:cNvPr>
            <p:cNvSpPr/>
            <p:nvPr/>
          </p:nvSpPr>
          <p:spPr>
            <a:xfrm>
              <a:off x="37820" y="2487016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" name="Shape 1998">
              <a:extLst>
                <a:ext uri="{FF2B5EF4-FFF2-40B4-BE49-F238E27FC236}">
                  <a16:creationId xmlns:a16="http://schemas.microsoft.com/office/drawing/2014/main" id="{E2A0F79F-DD98-1A49-ADD6-730E0F2ECA7A}"/>
                </a:ext>
              </a:extLst>
            </p:cNvPr>
            <p:cNvSpPr/>
            <p:nvPr/>
          </p:nvSpPr>
          <p:spPr>
            <a:xfrm>
              <a:off x="37820" y="2350536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" name="Shape 1999">
              <a:extLst>
                <a:ext uri="{FF2B5EF4-FFF2-40B4-BE49-F238E27FC236}">
                  <a16:creationId xmlns:a16="http://schemas.microsoft.com/office/drawing/2014/main" id="{91FAB41E-2791-9F49-BD38-A550BCCAEC47}"/>
                </a:ext>
              </a:extLst>
            </p:cNvPr>
            <p:cNvSpPr/>
            <p:nvPr/>
          </p:nvSpPr>
          <p:spPr>
            <a:xfrm>
              <a:off x="37820" y="2213698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" name="Shape 2000">
              <a:extLst>
                <a:ext uri="{FF2B5EF4-FFF2-40B4-BE49-F238E27FC236}">
                  <a16:creationId xmlns:a16="http://schemas.microsoft.com/office/drawing/2014/main" id="{44599C65-EC67-7748-B44E-DB01F889A7B5}"/>
                </a:ext>
              </a:extLst>
            </p:cNvPr>
            <p:cNvSpPr/>
            <p:nvPr/>
          </p:nvSpPr>
          <p:spPr>
            <a:xfrm>
              <a:off x="37820" y="2077217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" name="Shape 2001">
              <a:extLst>
                <a:ext uri="{FF2B5EF4-FFF2-40B4-BE49-F238E27FC236}">
                  <a16:creationId xmlns:a16="http://schemas.microsoft.com/office/drawing/2014/main" id="{4232E613-5A1A-764B-AAEA-7C8C3CEBF760}"/>
                </a:ext>
              </a:extLst>
            </p:cNvPr>
            <p:cNvSpPr/>
            <p:nvPr/>
          </p:nvSpPr>
          <p:spPr>
            <a:xfrm>
              <a:off x="151280" y="1913048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Shape 2002">
              <a:extLst>
                <a:ext uri="{FF2B5EF4-FFF2-40B4-BE49-F238E27FC236}">
                  <a16:creationId xmlns:a16="http://schemas.microsoft.com/office/drawing/2014/main" id="{98C5FFED-33C5-9847-BD1E-3C7383DC8C4B}"/>
                </a:ext>
              </a:extLst>
            </p:cNvPr>
            <p:cNvSpPr/>
            <p:nvPr/>
          </p:nvSpPr>
          <p:spPr>
            <a:xfrm>
              <a:off x="151280" y="1776567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" name="Shape 2003">
              <a:extLst>
                <a:ext uri="{FF2B5EF4-FFF2-40B4-BE49-F238E27FC236}">
                  <a16:creationId xmlns:a16="http://schemas.microsoft.com/office/drawing/2014/main" id="{A280D111-38F0-C34A-A390-32CABD9D0B99}"/>
                </a:ext>
              </a:extLst>
            </p:cNvPr>
            <p:cNvSpPr/>
            <p:nvPr/>
          </p:nvSpPr>
          <p:spPr>
            <a:xfrm>
              <a:off x="88247" y="1598732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" name="Shape 2004">
              <a:extLst>
                <a:ext uri="{FF2B5EF4-FFF2-40B4-BE49-F238E27FC236}">
                  <a16:creationId xmlns:a16="http://schemas.microsoft.com/office/drawing/2014/main" id="{EBA92EB7-AB9E-BE4C-8FBE-51BB53AF80D7}"/>
                </a:ext>
              </a:extLst>
            </p:cNvPr>
            <p:cNvSpPr/>
            <p:nvPr/>
          </p:nvSpPr>
          <p:spPr>
            <a:xfrm>
              <a:off x="88247" y="1462251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" name="Shape 2005">
              <a:extLst>
                <a:ext uri="{FF2B5EF4-FFF2-40B4-BE49-F238E27FC236}">
                  <a16:creationId xmlns:a16="http://schemas.microsoft.com/office/drawing/2014/main" id="{0C69EF4B-6564-CA4A-8709-6BAA5B8CB687}"/>
                </a:ext>
              </a:extLst>
            </p:cNvPr>
            <p:cNvSpPr/>
            <p:nvPr/>
          </p:nvSpPr>
          <p:spPr>
            <a:xfrm>
              <a:off x="0" y="1311748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" name="Shape 2006">
              <a:extLst>
                <a:ext uri="{FF2B5EF4-FFF2-40B4-BE49-F238E27FC236}">
                  <a16:creationId xmlns:a16="http://schemas.microsoft.com/office/drawing/2014/main" id="{195773C2-D3EA-FE45-B67C-701992D1D29C}"/>
                </a:ext>
              </a:extLst>
            </p:cNvPr>
            <p:cNvSpPr/>
            <p:nvPr/>
          </p:nvSpPr>
          <p:spPr>
            <a:xfrm>
              <a:off x="0" y="1175267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" name="Shape 2007">
              <a:extLst>
                <a:ext uri="{FF2B5EF4-FFF2-40B4-BE49-F238E27FC236}">
                  <a16:creationId xmlns:a16="http://schemas.microsoft.com/office/drawing/2014/main" id="{22F48FF5-A74F-1B4E-B8C3-1D344836293D}"/>
                </a:ext>
              </a:extLst>
            </p:cNvPr>
            <p:cNvSpPr/>
            <p:nvPr/>
          </p:nvSpPr>
          <p:spPr>
            <a:xfrm>
              <a:off x="100853" y="997433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" name="Shape 2008">
              <a:extLst>
                <a:ext uri="{FF2B5EF4-FFF2-40B4-BE49-F238E27FC236}">
                  <a16:creationId xmlns:a16="http://schemas.microsoft.com/office/drawing/2014/main" id="{35571371-0563-CC40-8E61-E6B803CD0E97}"/>
                </a:ext>
              </a:extLst>
            </p:cNvPr>
            <p:cNvSpPr/>
            <p:nvPr/>
          </p:nvSpPr>
          <p:spPr>
            <a:xfrm>
              <a:off x="100853" y="860951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9" name="Group 2045">
            <a:extLst>
              <a:ext uri="{FF2B5EF4-FFF2-40B4-BE49-F238E27FC236}">
                <a16:creationId xmlns:a16="http://schemas.microsoft.com/office/drawing/2014/main" id="{8BBF16B1-5E44-A641-842E-153483AB1694}"/>
              </a:ext>
            </a:extLst>
          </p:cNvPr>
          <p:cNvGrpSpPr/>
          <p:nvPr/>
        </p:nvGrpSpPr>
        <p:grpSpPr>
          <a:xfrm>
            <a:off x="2320876" y="1773281"/>
            <a:ext cx="772149" cy="678278"/>
            <a:chOff x="0" y="601299"/>
            <a:chExt cx="1462379" cy="1284596"/>
          </a:xfrm>
          <a:solidFill>
            <a:schemeClr val="accent2">
              <a:lumMod val="50000"/>
              <a:lumOff val="50000"/>
            </a:schemeClr>
          </a:solidFill>
        </p:grpSpPr>
        <p:sp>
          <p:nvSpPr>
            <p:cNvPr id="13" name="Shape 2033">
              <a:extLst>
                <a:ext uri="{FF2B5EF4-FFF2-40B4-BE49-F238E27FC236}">
                  <a16:creationId xmlns:a16="http://schemas.microsoft.com/office/drawing/2014/main" id="{7AABBF64-B18C-B644-BBF4-A7419841AAAA}"/>
                </a:ext>
              </a:extLst>
            </p:cNvPr>
            <p:cNvSpPr/>
            <p:nvPr/>
          </p:nvSpPr>
          <p:spPr>
            <a:xfrm>
              <a:off x="75641" y="1598732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" name="Shape 2034">
              <a:extLst>
                <a:ext uri="{FF2B5EF4-FFF2-40B4-BE49-F238E27FC236}">
                  <a16:creationId xmlns:a16="http://schemas.microsoft.com/office/drawing/2014/main" id="{D9D4C7FA-33B2-C74B-9691-95BC6E271196}"/>
                </a:ext>
              </a:extLst>
            </p:cNvPr>
            <p:cNvSpPr/>
            <p:nvPr/>
          </p:nvSpPr>
          <p:spPr>
            <a:xfrm>
              <a:off x="75641" y="1462251"/>
              <a:ext cx="1386727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" name="Shape 2035">
              <a:extLst>
                <a:ext uri="{FF2B5EF4-FFF2-40B4-BE49-F238E27FC236}">
                  <a16:creationId xmlns:a16="http://schemas.microsoft.com/office/drawing/2014/main" id="{840194BD-80C5-4941-ADE5-6671B02991CF}"/>
                </a:ext>
              </a:extLst>
            </p:cNvPr>
            <p:cNvSpPr/>
            <p:nvPr/>
          </p:nvSpPr>
          <p:spPr>
            <a:xfrm>
              <a:off x="1" y="1311748"/>
              <a:ext cx="1386738" cy="287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" name="Shape 2036">
              <a:extLst>
                <a:ext uri="{FF2B5EF4-FFF2-40B4-BE49-F238E27FC236}">
                  <a16:creationId xmlns:a16="http://schemas.microsoft.com/office/drawing/2014/main" id="{76F5019F-72D3-4A45-B9F0-05AED1E3B8E0}"/>
                </a:ext>
              </a:extLst>
            </p:cNvPr>
            <p:cNvSpPr/>
            <p:nvPr/>
          </p:nvSpPr>
          <p:spPr>
            <a:xfrm>
              <a:off x="0" y="1175266"/>
              <a:ext cx="1386726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" name="Shape 2037">
              <a:extLst>
                <a:ext uri="{FF2B5EF4-FFF2-40B4-BE49-F238E27FC236}">
                  <a16:creationId xmlns:a16="http://schemas.microsoft.com/office/drawing/2014/main" id="{983BE3F4-A978-8C47-A208-2CD4F6DF07D4}"/>
                </a:ext>
              </a:extLst>
            </p:cNvPr>
            <p:cNvSpPr/>
            <p:nvPr/>
          </p:nvSpPr>
          <p:spPr>
            <a:xfrm>
              <a:off x="75640" y="1038430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" name="Shape 2038">
              <a:extLst>
                <a:ext uri="{FF2B5EF4-FFF2-40B4-BE49-F238E27FC236}">
                  <a16:creationId xmlns:a16="http://schemas.microsoft.com/office/drawing/2014/main" id="{4B9CD5E5-E4E6-0944-BB71-B16CBDD4ECF9}"/>
                </a:ext>
              </a:extLst>
            </p:cNvPr>
            <p:cNvSpPr/>
            <p:nvPr/>
          </p:nvSpPr>
          <p:spPr>
            <a:xfrm>
              <a:off x="75640" y="901949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" name="Shape 2039">
              <a:extLst>
                <a:ext uri="{FF2B5EF4-FFF2-40B4-BE49-F238E27FC236}">
                  <a16:creationId xmlns:a16="http://schemas.microsoft.com/office/drawing/2014/main" id="{F8653CB1-8A12-D441-9421-58E2D20A1FE3}"/>
                </a:ext>
              </a:extLst>
            </p:cNvPr>
            <p:cNvSpPr/>
            <p:nvPr/>
          </p:nvSpPr>
          <p:spPr>
            <a:xfrm>
              <a:off x="25214" y="737781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" name="Shape 2040">
              <a:extLst>
                <a:ext uri="{FF2B5EF4-FFF2-40B4-BE49-F238E27FC236}">
                  <a16:creationId xmlns:a16="http://schemas.microsoft.com/office/drawing/2014/main" id="{5C2A149A-BBF0-D44D-A949-69C575E4057F}"/>
                </a:ext>
              </a:extLst>
            </p:cNvPr>
            <p:cNvSpPr/>
            <p:nvPr/>
          </p:nvSpPr>
          <p:spPr>
            <a:xfrm>
              <a:off x="25213" y="601299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11" name="Shape 2047">
            <a:extLst>
              <a:ext uri="{FF2B5EF4-FFF2-40B4-BE49-F238E27FC236}">
                <a16:creationId xmlns:a16="http://schemas.microsoft.com/office/drawing/2014/main" id="{835DC698-45F3-BB42-8CEC-959E27C45487}"/>
              </a:ext>
            </a:extLst>
          </p:cNvPr>
          <p:cNvSpPr/>
          <p:nvPr/>
        </p:nvSpPr>
        <p:spPr>
          <a:xfrm>
            <a:off x="2204024" y="2472104"/>
            <a:ext cx="1005855" cy="50823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endParaRPr sz="593" dirty="0"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Shape 2048">
            <a:extLst>
              <a:ext uri="{FF2B5EF4-FFF2-40B4-BE49-F238E27FC236}">
                <a16:creationId xmlns:a16="http://schemas.microsoft.com/office/drawing/2014/main" id="{292949F5-E906-EE47-8E30-7E3DE7D254A0}"/>
              </a:ext>
            </a:extLst>
          </p:cNvPr>
          <p:cNvSpPr/>
          <p:nvPr/>
        </p:nvSpPr>
        <p:spPr>
          <a:xfrm>
            <a:off x="4965493" y="2462148"/>
            <a:ext cx="1293181" cy="508183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endParaRPr sz="593" dirty="0"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68C78EC-27C9-B743-B45E-3512495A8650}"/>
              </a:ext>
            </a:extLst>
          </p:cNvPr>
          <p:cNvSpPr txBox="1"/>
          <p:nvPr/>
        </p:nvSpPr>
        <p:spPr>
          <a:xfrm>
            <a:off x="4898578" y="2606463"/>
            <a:ext cx="1447833" cy="24622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10 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000 </a:t>
            </a:r>
            <a:r>
              <a:rPr lang="ru-RU" sz="1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млн.тенге</a:t>
            </a:r>
            <a:r>
              <a:rPr lang="en-US" sz="1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/</a:t>
            </a:r>
            <a:r>
              <a:rPr lang="ru-RU" sz="1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МВт *</a:t>
            </a:r>
            <a:endParaRPr lang="en-US" sz="1000" b="1" dirty="0">
              <a:solidFill>
                <a:schemeClr val="bg1"/>
              </a:solidFill>
              <a:latin typeface="Calibri Light" panose="020F0302020204030204" pitchFamily="34" charset="0"/>
              <a:ea typeface="League Spartan" charset="0"/>
              <a:cs typeface="Calibri Light" panose="020F03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6F1AD00-AC71-1E42-9E0B-14282D6F4E10}"/>
              </a:ext>
            </a:extLst>
          </p:cNvPr>
          <p:cNvSpPr txBox="1"/>
          <p:nvPr/>
        </p:nvSpPr>
        <p:spPr>
          <a:xfrm>
            <a:off x="2048101" y="2424213"/>
            <a:ext cx="1317700" cy="646986"/>
          </a:xfrm>
          <a:prstGeom prst="round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1% от </a:t>
            </a:r>
            <a:r>
              <a:rPr lang="ru-RU" sz="8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стоимости</a:t>
            </a:r>
          </a:p>
          <a:p>
            <a:pPr algn="ctr"/>
            <a:r>
              <a:rPr lang="ru-RU" sz="8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 </a:t>
            </a:r>
            <a: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реализации проекта</a:t>
            </a:r>
            <a:b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</a:br>
            <a: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 </a:t>
            </a:r>
            <a:r>
              <a:rPr lang="ru-RU" sz="8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(1 вид аукционных торгов)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4956099-A036-45C8-A3CB-0034AA3485A9}"/>
              </a:ext>
            </a:extLst>
          </p:cNvPr>
          <p:cNvSpPr txBox="1"/>
          <p:nvPr/>
        </p:nvSpPr>
        <p:spPr>
          <a:xfrm>
            <a:off x="836023" y="211511"/>
            <a:ext cx="36902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иды финансового обеспечения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A1E5FD6-0413-4571-8C90-74CAF10D3FEE}"/>
              </a:ext>
            </a:extLst>
          </p:cNvPr>
          <p:cNvSpPr/>
          <p:nvPr/>
        </p:nvSpPr>
        <p:spPr>
          <a:xfrm>
            <a:off x="1246306" y="913146"/>
            <a:ext cx="26884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обеспечение </a:t>
            </a:r>
          </a:p>
          <a:p>
            <a:pPr algn="ctr"/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явки на участие в аукционе</a:t>
            </a:r>
            <a:endParaRPr lang="ru-RU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FF5D326-4BE1-42FC-B7DD-794926C0A3D0}"/>
              </a:ext>
            </a:extLst>
          </p:cNvPr>
          <p:cNvSpPr/>
          <p:nvPr/>
        </p:nvSpPr>
        <p:spPr>
          <a:xfrm>
            <a:off x="4191800" y="689874"/>
            <a:ext cx="286138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обеспечение условий договора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электрической мощности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60" name="Table 59">
            <a:extLst>
              <a:ext uri="{FF2B5EF4-FFF2-40B4-BE49-F238E27FC236}">
                <a16:creationId xmlns:a16="http://schemas.microsoft.com/office/drawing/2014/main" id="{E923FC2C-83D4-47FE-B01A-ADC7AB5A18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092864"/>
              </p:ext>
            </p:extLst>
          </p:nvPr>
        </p:nvGraphicFramePr>
        <p:xfrm>
          <a:off x="104503" y="3030766"/>
          <a:ext cx="6753496" cy="18736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0823">
                  <a:extLst>
                    <a:ext uri="{9D8B030D-6E8A-4147-A177-3AD203B41FA5}">
                      <a16:colId xmlns:a16="http://schemas.microsoft.com/office/drawing/2014/main" val="2174303322"/>
                    </a:ext>
                  </a:extLst>
                </a:gridCol>
                <a:gridCol w="2934788">
                  <a:extLst>
                    <a:ext uri="{9D8B030D-6E8A-4147-A177-3AD203B41FA5}">
                      <a16:colId xmlns:a16="http://schemas.microsoft.com/office/drawing/2014/main" val="2970944858"/>
                    </a:ext>
                  </a:extLst>
                </a:gridCol>
                <a:gridCol w="2677885">
                  <a:extLst>
                    <a:ext uri="{9D8B030D-6E8A-4147-A177-3AD203B41FA5}">
                      <a16:colId xmlns:a16="http://schemas.microsoft.com/office/drawing/2014/main" val="414786956"/>
                    </a:ext>
                  </a:extLst>
                </a:gridCol>
              </a:tblGrid>
              <a:tr h="617467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рок 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/>
                      </a:r>
                      <a:b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</a:br>
                      <a:r>
                        <a:rPr lang="ru-RU" sz="10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едоставления</a:t>
                      </a:r>
                      <a:r>
                        <a:rPr lang="en-US" sz="10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в</a:t>
                      </a:r>
                      <a:r>
                        <a:rPr lang="ru-RU" sz="10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уполномоченный орган </a:t>
                      </a:r>
                      <a:endParaRPr lang="en-US" sz="10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не позднее </a:t>
                      </a:r>
                      <a:r>
                        <a:rPr lang="ru-RU" sz="10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0 календарных</a:t>
                      </a:r>
                      <a:r>
                        <a:rPr lang="ru-RU" sz="10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дней </a:t>
                      </a:r>
                      <a:r>
                        <a:rPr lang="ru-RU" sz="1000" b="1" u="sng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о </a:t>
                      </a:r>
                      <a:r>
                        <a:rPr lang="en-US" sz="1000" b="1" u="sng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ru-RU" sz="1000" b="1" u="sng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аты торгов</a:t>
                      </a:r>
                      <a:endParaRPr lang="en-US" sz="1000" b="1" u="sng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в течение </a:t>
                      </a:r>
                      <a:r>
                        <a:rPr lang="kk-KZ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0</a:t>
                      </a:r>
                      <a:r>
                        <a:rPr lang="kk-KZ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kk-KZ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алендарных дней </a:t>
                      </a:r>
                      <a:r>
                        <a:rPr lang="kk-KZ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осле подписания </a:t>
                      </a:r>
                      <a:r>
                        <a:rPr lang="kk-KZ" sz="1000" b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оговора покупки электрической</a:t>
                      </a:r>
                      <a:r>
                        <a:rPr lang="kk-KZ" sz="1000" b="0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kk-KZ" sz="1000" b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мощности</a:t>
                      </a:r>
                      <a:endParaRPr lang="en-US" sz="10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8130151"/>
                  </a:ext>
                </a:extLst>
              </a:tr>
              <a:tr h="117258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рок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/>
                      </a:r>
                      <a:b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</a:b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ействия</a:t>
                      </a:r>
                      <a:endParaRPr lang="en-US" sz="10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не менее </a:t>
                      </a:r>
                      <a:r>
                        <a:rPr lang="ru-RU" sz="10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20 календарных 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ней </a:t>
                      </a:r>
                      <a:r>
                        <a:rPr lang="ru-RU" sz="1000" b="1" u="sng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 даты аукционов</a:t>
                      </a:r>
                      <a:endParaRPr lang="en-US" sz="1000" b="1" u="sng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для газовых электростанций – не менее 38*(тридцати восьми) месяцев с </a:t>
                      </a:r>
                      <a:r>
                        <a:rPr lang="ru-RU" sz="10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аты подписания договора покупки электрической мощности</a:t>
                      </a:r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66783223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1731" y="4990135"/>
            <a:ext cx="353462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600" dirty="0" smtClean="0"/>
              <a:t>* в соответствии с действующей редакции Правил и Графика </a:t>
            </a:r>
            <a:r>
              <a:rPr lang="ru-RU" sz="600" dirty="0"/>
              <a:t>на </a:t>
            </a:r>
            <a:r>
              <a:rPr lang="ru-RU" sz="600" dirty="0" smtClean="0"/>
              <a:t>момент публикации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210825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C34BD6B-833A-4693-88B9-85E1AA809531}"/>
              </a:ext>
            </a:extLst>
          </p:cNvPr>
          <p:cNvGrpSpPr/>
          <p:nvPr/>
        </p:nvGrpSpPr>
        <p:grpSpPr>
          <a:xfrm>
            <a:off x="76586" y="886827"/>
            <a:ext cx="6704826" cy="3673723"/>
            <a:chOff x="737386" y="2138939"/>
            <a:chExt cx="9217826" cy="4549638"/>
          </a:xfrm>
        </p:grpSpPr>
        <p:sp>
          <p:nvSpPr>
            <p:cNvPr id="7" name="Freeform 156">
              <a:extLst>
                <a:ext uri="{FF2B5EF4-FFF2-40B4-BE49-F238E27FC236}">
                  <a16:creationId xmlns:a16="http://schemas.microsoft.com/office/drawing/2014/main" id="{FCFBA19F-E235-41E3-990D-B1640E04068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865710" y="2138939"/>
              <a:ext cx="4089502" cy="698913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704 w 10000"/>
                <a:gd name="connsiteY3" fmla="*/ 26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916 w 10000"/>
                <a:gd name="connsiteY3" fmla="*/ 151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37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80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9001 w 10000"/>
                <a:gd name="connsiteY3" fmla="*/ 27 h 10000"/>
                <a:gd name="connsiteX4" fmla="*/ 0 w 10000"/>
                <a:gd name="connsiteY4" fmla="*/ 0 h 10000"/>
                <a:gd name="connsiteX5" fmla="*/ 0 w 10000"/>
                <a:gd name="connsiteY5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9001" y="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 dirty="0">
                <a:solidFill>
                  <a:srgbClr val="76DBE7"/>
                </a:solidFill>
                <a:highlight>
                  <a:srgbClr val="76DBE7"/>
                </a:highlight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" name="Freeform 186">
              <a:extLst>
                <a:ext uri="{FF2B5EF4-FFF2-40B4-BE49-F238E27FC236}">
                  <a16:creationId xmlns:a16="http://schemas.microsoft.com/office/drawing/2014/main" id="{1FE06AC3-8636-4D88-9EE6-CEC2E500C74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7196395" y="4451271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" name="Freeform 186">
              <a:extLst>
                <a:ext uri="{FF2B5EF4-FFF2-40B4-BE49-F238E27FC236}">
                  <a16:creationId xmlns:a16="http://schemas.microsoft.com/office/drawing/2014/main" id="{9109D7C6-1523-4060-A6F0-47B71148156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7196395" y="2912430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" name="Freeform 28">
              <a:extLst>
                <a:ext uri="{FF2B5EF4-FFF2-40B4-BE49-F238E27FC236}">
                  <a16:creationId xmlns:a16="http://schemas.microsoft.com/office/drawing/2014/main" id="{08879FAF-7612-40EA-9799-A7CD93168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642" y="2138939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1" y="0"/>
                </a:cxn>
                <a:cxn ang="0">
                  <a:pos x="0" y="313"/>
                </a:cxn>
                <a:cxn ang="0">
                  <a:pos x="181" y="626"/>
                </a:cxn>
                <a:cxn ang="0">
                  <a:pos x="545" y="626"/>
                </a:cxn>
                <a:cxn ang="0">
                  <a:pos x="726" y="313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6" h="626">
                  <a:moveTo>
                    <a:pt x="545" y="0"/>
                  </a:moveTo>
                  <a:lnTo>
                    <a:pt x="181" y="0"/>
                  </a:lnTo>
                  <a:lnTo>
                    <a:pt x="0" y="313"/>
                  </a:lnTo>
                  <a:lnTo>
                    <a:pt x="181" y="626"/>
                  </a:lnTo>
                  <a:lnTo>
                    <a:pt x="545" y="626"/>
                  </a:lnTo>
                  <a:lnTo>
                    <a:pt x="726" y="313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id="{665BA47B-7349-46BA-B882-BF4C2C724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190" y="2918245"/>
              <a:ext cx="1708286" cy="1458714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2" y="0"/>
                </a:cxn>
                <a:cxn ang="0">
                  <a:pos x="0" y="313"/>
                </a:cxn>
                <a:cxn ang="0">
                  <a:pos x="182" y="628"/>
                </a:cxn>
                <a:cxn ang="0">
                  <a:pos x="545" y="628"/>
                </a:cxn>
                <a:cxn ang="0">
                  <a:pos x="727" y="313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7" h="628">
                  <a:moveTo>
                    <a:pt x="545" y="0"/>
                  </a:moveTo>
                  <a:lnTo>
                    <a:pt x="182" y="0"/>
                  </a:lnTo>
                  <a:lnTo>
                    <a:pt x="0" y="313"/>
                  </a:lnTo>
                  <a:lnTo>
                    <a:pt x="182" y="628"/>
                  </a:lnTo>
                  <a:lnTo>
                    <a:pt x="545" y="628"/>
                  </a:lnTo>
                  <a:lnTo>
                    <a:pt x="727" y="313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5D1803E6-130F-4BF8-85BD-BFBB8589B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022" y="2918245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1" y="0"/>
                </a:cxn>
                <a:cxn ang="0">
                  <a:pos x="0" y="315"/>
                </a:cxn>
                <a:cxn ang="0">
                  <a:pos x="181" y="628"/>
                </a:cxn>
                <a:cxn ang="0">
                  <a:pos x="545" y="628"/>
                </a:cxn>
                <a:cxn ang="0">
                  <a:pos x="726" y="315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6" h="628">
                  <a:moveTo>
                    <a:pt x="545" y="0"/>
                  </a:moveTo>
                  <a:lnTo>
                    <a:pt x="181" y="0"/>
                  </a:lnTo>
                  <a:lnTo>
                    <a:pt x="0" y="315"/>
                  </a:lnTo>
                  <a:lnTo>
                    <a:pt x="181" y="628"/>
                  </a:lnTo>
                  <a:lnTo>
                    <a:pt x="545" y="628"/>
                  </a:lnTo>
                  <a:lnTo>
                    <a:pt x="726" y="315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rgbClr val="968C6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80E5C7D3-FAC5-46DA-8BB8-9FAB8E2E7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190" y="4457086"/>
              <a:ext cx="1710000" cy="1458000"/>
            </a:xfrm>
            <a:custGeom>
              <a:avLst/>
              <a:gdLst/>
              <a:ahLst/>
              <a:cxnLst>
                <a:cxn ang="0">
                  <a:pos x="546" y="0"/>
                </a:cxn>
                <a:cxn ang="0">
                  <a:pos x="182" y="0"/>
                </a:cxn>
                <a:cxn ang="0">
                  <a:pos x="0" y="313"/>
                </a:cxn>
                <a:cxn ang="0">
                  <a:pos x="182" y="626"/>
                </a:cxn>
                <a:cxn ang="0">
                  <a:pos x="546" y="626"/>
                </a:cxn>
                <a:cxn ang="0">
                  <a:pos x="728" y="313"/>
                </a:cxn>
                <a:cxn ang="0">
                  <a:pos x="546" y="0"/>
                </a:cxn>
                <a:cxn ang="0">
                  <a:pos x="546" y="0"/>
                </a:cxn>
              </a:cxnLst>
              <a:rect l="0" t="0" r="r" b="b"/>
              <a:pathLst>
                <a:path w="728" h="626">
                  <a:moveTo>
                    <a:pt x="546" y="0"/>
                  </a:moveTo>
                  <a:lnTo>
                    <a:pt x="182" y="0"/>
                  </a:lnTo>
                  <a:lnTo>
                    <a:pt x="0" y="313"/>
                  </a:lnTo>
                  <a:lnTo>
                    <a:pt x="182" y="626"/>
                  </a:lnTo>
                  <a:lnTo>
                    <a:pt x="546" y="626"/>
                  </a:lnTo>
                  <a:lnTo>
                    <a:pt x="728" y="313"/>
                  </a:lnTo>
                  <a:lnTo>
                    <a:pt x="546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BCE26ED4-4996-49A0-A985-A02113B18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022" y="4457086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2" y="0"/>
                </a:cxn>
                <a:cxn ang="0">
                  <a:pos x="0" y="313"/>
                </a:cxn>
                <a:cxn ang="0">
                  <a:pos x="182" y="627"/>
                </a:cxn>
                <a:cxn ang="0">
                  <a:pos x="545" y="627"/>
                </a:cxn>
                <a:cxn ang="0">
                  <a:pos x="727" y="313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7" h="627">
                  <a:moveTo>
                    <a:pt x="545" y="0"/>
                  </a:moveTo>
                  <a:lnTo>
                    <a:pt x="182" y="0"/>
                  </a:lnTo>
                  <a:lnTo>
                    <a:pt x="0" y="313"/>
                  </a:lnTo>
                  <a:lnTo>
                    <a:pt x="182" y="627"/>
                  </a:lnTo>
                  <a:lnTo>
                    <a:pt x="545" y="627"/>
                  </a:lnTo>
                  <a:lnTo>
                    <a:pt x="727" y="313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27F5D051-C063-4D87-A578-6C8D6D91C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642" y="5230577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1" y="0"/>
                </a:cxn>
                <a:cxn ang="0">
                  <a:pos x="0" y="315"/>
                </a:cxn>
                <a:cxn ang="0">
                  <a:pos x="181" y="628"/>
                </a:cxn>
                <a:cxn ang="0">
                  <a:pos x="545" y="628"/>
                </a:cxn>
                <a:cxn ang="0">
                  <a:pos x="726" y="315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6" h="628">
                  <a:moveTo>
                    <a:pt x="545" y="0"/>
                  </a:moveTo>
                  <a:lnTo>
                    <a:pt x="181" y="0"/>
                  </a:lnTo>
                  <a:lnTo>
                    <a:pt x="0" y="315"/>
                  </a:lnTo>
                  <a:lnTo>
                    <a:pt x="181" y="628"/>
                  </a:lnTo>
                  <a:lnTo>
                    <a:pt x="545" y="628"/>
                  </a:lnTo>
                  <a:lnTo>
                    <a:pt x="726" y="315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" name="Freeform 156">
              <a:extLst>
                <a:ext uri="{FF2B5EF4-FFF2-40B4-BE49-F238E27FC236}">
                  <a16:creationId xmlns:a16="http://schemas.microsoft.com/office/drawing/2014/main" id="{8AD400C9-93DF-4420-984A-7E884A985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386" y="5989665"/>
              <a:ext cx="4089502" cy="698912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704 w 10000"/>
                <a:gd name="connsiteY3" fmla="*/ 26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916 w 10000"/>
                <a:gd name="connsiteY3" fmla="*/ 151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37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80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9001 w 10000"/>
                <a:gd name="connsiteY3" fmla="*/ 27 h 10000"/>
                <a:gd name="connsiteX4" fmla="*/ 0 w 10000"/>
                <a:gd name="connsiteY4" fmla="*/ 0 h 10000"/>
                <a:gd name="connsiteX5" fmla="*/ 0 w 10000"/>
                <a:gd name="connsiteY5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9001" y="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" name="Freeform 186">
              <a:extLst>
                <a:ext uri="{FF2B5EF4-FFF2-40B4-BE49-F238E27FC236}">
                  <a16:creationId xmlns:a16="http://schemas.microsoft.com/office/drawing/2014/main" id="{C59E2EAD-6931-4EFB-B63E-41A98CB2A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386" y="2918245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968C6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4F1FC27A-3966-4A70-B9B1-B49D9BF26D06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1034490" y="3256255"/>
              <a:ext cx="3245681" cy="3557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банковской </a:t>
              </a:r>
              <a: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/>
              </a:r>
              <a:b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гарантии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резервного</a:t>
              </a:r>
              <a: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/>
              </a:r>
              <a:b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аккредитива</a:t>
              </a:r>
              <a:endParaRPr lang="en-US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" name="Text Box 7">
              <a:extLst>
                <a:ext uri="{FF2B5EF4-FFF2-40B4-BE49-F238E27FC236}">
                  <a16:creationId xmlns:a16="http://schemas.microsoft.com/office/drawing/2014/main" id="{6A36AE8B-2024-4868-AB44-DCB2A0BAC5F4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881716" y="2986279"/>
              <a:ext cx="2758816" cy="3648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lvl="0"/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в виде:</a:t>
              </a:r>
              <a:endParaRPr lang="en-GB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" name="Text Box 7">
              <a:extLst>
                <a:ext uri="{FF2B5EF4-FFF2-40B4-BE49-F238E27FC236}">
                  <a16:creationId xmlns:a16="http://schemas.microsoft.com/office/drawing/2014/main" id="{DA769C63-8F32-407B-A5D2-E5AD15F4AD02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741469" y="4885983"/>
              <a:ext cx="2466439" cy="5885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lvl="0" algn="ctr"/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</a:t>
              </a:r>
            </a:p>
            <a:p>
              <a:pPr lvl="0" algn="ctr"/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 пользу</a:t>
              </a:r>
              <a: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РФЦ</a:t>
              </a:r>
              <a:endParaRPr lang="en-GB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" name="Text Box 7">
              <a:extLst>
                <a:ext uri="{FF2B5EF4-FFF2-40B4-BE49-F238E27FC236}">
                  <a16:creationId xmlns:a16="http://schemas.microsoft.com/office/drawing/2014/main" id="{EC2281B1-5D85-4B9E-BFE6-F4BD068DA142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1350745" y="6237555"/>
              <a:ext cx="2079209" cy="3796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</a:t>
              </a: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 тенге</a:t>
              </a:r>
              <a:endParaRPr lang="en-GB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" name="Text Box 24">
              <a:extLst>
                <a:ext uri="{FF2B5EF4-FFF2-40B4-BE49-F238E27FC236}">
                  <a16:creationId xmlns:a16="http://schemas.microsoft.com/office/drawing/2014/main" id="{0E8B0547-02DA-41AE-8835-71F88B04503F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4483642" y="3895860"/>
              <a:ext cx="1710001" cy="9222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ru-RU" sz="16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Финансовое обеспечение</a:t>
              </a:r>
              <a:endParaRPr lang="en-GB" sz="16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" name="Rectangle 6">
              <a:extLst>
                <a:ext uri="{FF2B5EF4-FFF2-40B4-BE49-F238E27FC236}">
                  <a16:creationId xmlns:a16="http://schemas.microsoft.com/office/drawing/2014/main" id="{0005B77C-0F8A-4BD7-A4AC-0C157FF296ED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6458813" y="2472854"/>
              <a:ext cx="3324747" cy="3342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lvl="0" algn="r"/>
              <a:endParaRPr lang="en-GB" sz="1100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" name="Text Box 7">
              <a:extLst>
                <a:ext uri="{FF2B5EF4-FFF2-40B4-BE49-F238E27FC236}">
                  <a16:creationId xmlns:a16="http://schemas.microsoft.com/office/drawing/2014/main" id="{0F38366F-E752-4722-BD69-3FAC738BDBDB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7631998" y="3349494"/>
              <a:ext cx="2086496" cy="5066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Должно пройти </a:t>
              </a: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процедуру авизования </a:t>
              </a:r>
              <a:r>
                <a:rPr lang="en-US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/>
              </a:r>
              <a:br>
                <a:rPr lang="en-US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 банках –партнерах  РФЦ </a:t>
              </a:r>
              <a:endParaRPr lang="en-GB" sz="1100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r">
                <a:spcBef>
                  <a:spcPct val="50000"/>
                </a:spcBef>
              </a:pPr>
              <a:endParaRPr lang="en-GB" sz="1100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" name="Rectangle 6">
              <a:extLst>
                <a:ext uri="{FF2B5EF4-FFF2-40B4-BE49-F238E27FC236}">
                  <a16:creationId xmlns:a16="http://schemas.microsoft.com/office/drawing/2014/main" id="{D941CCF4-D7F4-48EA-84FC-530B48FEF0FB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7794972" y="3478204"/>
              <a:ext cx="2160240" cy="7049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endParaRPr lang="en-GB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" name="Text Box 7">
              <a:extLst>
                <a:ext uri="{FF2B5EF4-FFF2-40B4-BE49-F238E27FC236}">
                  <a16:creationId xmlns:a16="http://schemas.microsoft.com/office/drawing/2014/main" id="{7E1A3578-9C88-4FAB-A661-328736F45DA1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7715882" y="4628472"/>
              <a:ext cx="2123804" cy="13592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Комиссии и расходы</a:t>
              </a: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,</a:t>
              </a:r>
              <a:r>
                <a:rPr lang="en-US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c</a:t>
              </a:r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язанные с финансовым обеспечением, в том числе  и банка получателя, </a:t>
              </a: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оплачивает </a:t>
              </a:r>
              <a:r>
                <a:rPr lang="ru-RU" sz="1100" b="1" dirty="0" smtClean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Заявитель* </a:t>
              </a:r>
              <a:endParaRPr lang="en-GB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>
                <a:spcBef>
                  <a:spcPct val="50000"/>
                </a:spcBef>
              </a:pPr>
              <a:endParaRPr lang="en-GB" sz="1100" b="1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" name="Text Box 7">
              <a:extLst>
                <a:ext uri="{FF2B5EF4-FFF2-40B4-BE49-F238E27FC236}">
                  <a16:creationId xmlns:a16="http://schemas.microsoft.com/office/drawing/2014/main" id="{022D0A7F-353E-43D3-9B99-52F60E3E35E7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5832189" y="2353879"/>
              <a:ext cx="3589917" cy="5066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algn="r">
                <a:spcBef>
                  <a:spcPct val="50000"/>
                </a:spcBef>
              </a:pP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</a:t>
              </a: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по системе </a:t>
              </a:r>
              <a:r>
                <a:rPr lang="en-US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WIFT</a:t>
              </a: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endParaRPr lang="en-GB" sz="1100" b="1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Freeform 186">
              <a:extLst>
                <a:ext uri="{FF2B5EF4-FFF2-40B4-BE49-F238E27FC236}">
                  <a16:creationId xmlns:a16="http://schemas.microsoft.com/office/drawing/2014/main" id="{245C26DC-D1A2-4373-AA38-D7546EE53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386" y="4457086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39" name="Title 38">
            <a:extLst>
              <a:ext uri="{FF2B5EF4-FFF2-40B4-BE49-F238E27FC236}">
                <a16:creationId xmlns:a16="http://schemas.microsoft.com/office/drawing/2014/main" id="{482B717A-F2B9-4831-A627-C44D332F86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041" y="212495"/>
            <a:ext cx="4601311" cy="307777"/>
          </a:xfrm>
        </p:spPr>
        <p:txBody>
          <a:bodyPr/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О финансовом обеспечении</a:t>
            </a:r>
            <a:endParaRPr lang="en-US" sz="20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45C645F2-42C6-4944-A2E5-8A069DA078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352" y="1179354"/>
            <a:ext cx="543655" cy="543655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0BE5FA3-5154-4557-AF10-77E0D41F09CA}"/>
              </a:ext>
            </a:extLst>
          </p:cNvPr>
          <p:cNvGrpSpPr/>
          <p:nvPr/>
        </p:nvGrpSpPr>
        <p:grpSpPr>
          <a:xfrm>
            <a:off x="4111908" y="1798578"/>
            <a:ext cx="640080" cy="640080"/>
            <a:chOff x="3216946" y="2258092"/>
            <a:chExt cx="612000" cy="61200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FC90751-3D73-45BD-B093-3D784EF10BE8}"/>
                </a:ext>
              </a:extLst>
            </p:cNvPr>
            <p:cNvSpPr/>
            <p:nvPr/>
          </p:nvSpPr>
          <p:spPr bwMode="ltGray">
            <a:xfrm>
              <a:off x="3216946" y="2258092"/>
              <a:ext cx="612000" cy="612000"/>
            </a:xfrm>
            <a:prstGeom prst="ellipse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Freeform 4806">
              <a:extLst>
                <a:ext uri="{FF2B5EF4-FFF2-40B4-BE49-F238E27FC236}">
                  <a16:creationId xmlns:a16="http://schemas.microsoft.com/office/drawing/2014/main" id="{ECE9199F-92F1-4B9B-83F4-9733118D94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9862" y="2321752"/>
              <a:ext cx="446169" cy="392236"/>
            </a:xfrm>
            <a:custGeom>
              <a:avLst/>
              <a:gdLst>
                <a:gd name="T0" fmla="*/ 310 w 364"/>
                <a:gd name="T1" fmla="*/ 104 h 320"/>
                <a:gd name="T2" fmla="*/ 314 w 364"/>
                <a:gd name="T3" fmla="*/ 242 h 320"/>
                <a:gd name="T4" fmla="*/ 304 w 364"/>
                <a:gd name="T5" fmla="*/ 252 h 320"/>
                <a:gd name="T6" fmla="*/ 276 w 364"/>
                <a:gd name="T7" fmla="*/ 248 h 320"/>
                <a:gd name="T8" fmla="*/ 274 w 364"/>
                <a:gd name="T9" fmla="*/ 110 h 320"/>
                <a:gd name="T10" fmla="*/ 284 w 364"/>
                <a:gd name="T11" fmla="*/ 100 h 320"/>
                <a:gd name="T12" fmla="*/ 26 w 364"/>
                <a:gd name="T13" fmla="*/ 66 h 320"/>
                <a:gd name="T14" fmla="*/ 178 w 364"/>
                <a:gd name="T15" fmla="*/ 0 h 320"/>
                <a:gd name="T16" fmla="*/ 180 w 364"/>
                <a:gd name="T17" fmla="*/ 0 h 320"/>
                <a:gd name="T18" fmla="*/ 184 w 364"/>
                <a:gd name="T19" fmla="*/ 0 h 320"/>
                <a:gd name="T20" fmla="*/ 186 w 364"/>
                <a:gd name="T21" fmla="*/ 0 h 320"/>
                <a:gd name="T22" fmla="*/ 332 w 364"/>
                <a:gd name="T23" fmla="*/ 62 h 320"/>
                <a:gd name="T24" fmla="*/ 338 w 364"/>
                <a:gd name="T25" fmla="*/ 74 h 320"/>
                <a:gd name="T26" fmla="*/ 328 w 364"/>
                <a:gd name="T27" fmla="*/ 82 h 320"/>
                <a:gd name="T28" fmla="*/ 36 w 364"/>
                <a:gd name="T29" fmla="*/ 82 h 320"/>
                <a:gd name="T30" fmla="*/ 26 w 364"/>
                <a:gd name="T31" fmla="*/ 72 h 320"/>
                <a:gd name="T32" fmla="*/ 168 w 364"/>
                <a:gd name="T33" fmla="*/ 56 h 320"/>
                <a:gd name="T34" fmla="*/ 190 w 364"/>
                <a:gd name="T35" fmla="*/ 60 h 320"/>
                <a:gd name="T36" fmla="*/ 200 w 364"/>
                <a:gd name="T37" fmla="*/ 42 h 320"/>
                <a:gd name="T38" fmla="*/ 182 w 364"/>
                <a:gd name="T39" fmla="*/ 24 h 320"/>
                <a:gd name="T40" fmla="*/ 164 w 364"/>
                <a:gd name="T41" fmla="*/ 36 h 320"/>
                <a:gd name="T42" fmla="*/ 230 w 364"/>
                <a:gd name="T43" fmla="*/ 252 h 320"/>
                <a:gd name="T44" fmla="*/ 240 w 364"/>
                <a:gd name="T45" fmla="*/ 242 h 320"/>
                <a:gd name="T46" fmla="*/ 236 w 364"/>
                <a:gd name="T47" fmla="*/ 104 h 320"/>
                <a:gd name="T48" fmla="*/ 134 w 364"/>
                <a:gd name="T49" fmla="*/ 100 h 320"/>
                <a:gd name="T50" fmla="*/ 124 w 364"/>
                <a:gd name="T51" fmla="*/ 110 h 320"/>
                <a:gd name="T52" fmla="*/ 128 w 364"/>
                <a:gd name="T53" fmla="*/ 248 h 320"/>
                <a:gd name="T54" fmla="*/ 162 w 364"/>
                <a:gd name="T55" fmla="*/ 170 h 320"/>
                <a:gd name="T56" fmla="*/ 174 w 364"/>
                <a:gd name="T57" fmla="*/ 152 h 320"/>
                <a:gd name="T58" fmla="*/ 196 w 364"/>
                <a:gd name="T59" fmla="*/ 156 h 320"/>
                <a:gd name="T60" fmla="*/ 230 w 364"/>
                <a:gd name="T61" fmla="*/ 252 h 320"/>
                <a:gd name="T62" fmla="*/ 332 w 364"/>
                <a:gd name="T63" fmla="*/ 286 h 320"/>
                <a:gd name="T64" fmla="*/ 338 w 364"/>
                <a:gd name="T65" fmla="*/ 278 h 320"/>
                <a:gd name="T66" fmla="*/ 328 w 364"/>
                <a:gd name="T67" fmla="*/ 268 h 320"/>
                <a:gd name="T68" fmla="*/ 28 w 364"/>
                <a:gd name="T69" fmla="*/ 270 h 320"/>
                <a:gd name="T70" fmla="*/ 26 w 364"/>
                <a:gd name="T71" fmla="*/ 282 h 320"/>
                <a:gd name="T72" fmla="*/ 36 w 364"/>
                <a:gd name="T73" fmla="*/ 288 h 320"/>
                <a:gd name="T74" fmla="*/ 6 w 364"/>
                <a:gd name="T75" fmla="*/ 302 h 320"/>
                <a:gd name="T76" fmla="*/ 0 w 364"/>
                <a:gd name="T77" fmla="*/ 310 h 320"/>
                <a:gd name="T78" fmla="*/ 10 w 364"/>
                <a:gd name="T79" fmla="*/ 320 h 320"/>
                <a:gd name="T80" fmla="*/ 362 w 364"/>
                <a:gd name="T81" fmla="*/ 318 h 320"/>
                <a:gd name="T82" fmla="*/ 364 w 364"/>
                <a:gd name="T83" fmla="*/ 306 h 320"/>
                <a:gd name="T84" fmla="*/ 354 w 364"/>
                <a:gd name="T85" fmla="*/ 300 h 320"/>
                <a:gd name="T86" fmla="*/ 54 w 364"/>
                <a:gd name="T87" fmla="*/ 104 h 320"/>
                <a:gd name="T88" fmla="*/ 50 w 364"/>
                <a:gd name="T89" fmla="*/ 242 h 320"/>
                <a:gd name="T90" fmla="*/ 60 w 364"/>
                <a:gd name="T91" fmla="*/ 252 h 320"/>
                <a:gd name="T92" fmla="*/ 88 w 364"/>
                <a:gd name="T93" fmla="*/ 248 h 320"/>
                <a:gd name="T94" fmla="*/ 90 w 364"/>
                <a:gd name="T95" fmla="*/ 110 h 320"/>
                <a:gd name="T96" fmla="*/ 80 w 364"/>
                <a:gd name="T97" fmla="*/ 10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320">
                  <a:moveTo>
                    <a:pt x="304" y="100"/>
                  </a:moveTo>
                  <a:lnTo>
                    <a:pt x="304" y="100"/>
                  </a:lnTo>
                  <a:lnTo>
                    <a:pt x="308" y="102"/>
                  </a:lnTo>
                  <a:lnTo>
                    <a:pt x="310" y="104"/>
                  </a:lnTo>
                  <a:lnTo>
                    <a:pt x="312" y="106"/>
                  </a:lnTo>
                  <a:lnTo>
                    <a:pt x="314" y="110"/>
                  </a:lnTo>
                  <a:lnTo>
                    <a:pt x="314" y="242"/>
                  </a:lnTo>
                  <a:lnTo>
                    <a:pt x="314" y="242"/>
                  </a:lnTo>
                  <a:lnTo>
                    <a:pt x="312" y="246"/>
                  </a:lnTo>
                  <a:lnTo>
                    <a:pt x="310" y="248"/>
                  </a:lnTo>
                  <a:lnTo>
                    <a:pt x="308" y="250"/>
                  </a:lnTo>
                  <a:lnTo>
                    <a:pt x="304" y="252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0" y="250"/>
                  </a:lnTo>
                  <a:lnTo>
                    <a:pt x="276" y="248"/>
                  </a:lnTo>
                  <a:lnTo>
                    <a:pt x="274" y="246"/>
                  </a:lnTo>
                  <a:lnTo>
                    <a:pt x="274" y="242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06"/>
                  </a:lnTo>
                  <a:lnTo>
                    <a:pt x="276" y="104"/>
                  </a:lnTo>
                  <a:lnTo>
                    <a:pt x="280" y="102"/>
                  </a:lnTo>
                  <a:lnTo>
                    <a:pt x="284" y="100"/>
                  </a:lnTo>
                  <a:lnTo>
                    <a:pt x="304" y="100"/>
                  </a:lnTo>
                  <a:close/>
                  <a:moveTo>
                    <a:pt x="26" y="72"/>
                  </a:moveTo>
                  <a:lnTo>
                    <a:pt x="26" y="72"/>
                  </a:lnTo>
                  <a:lnTo>
                    <a:pt x="26" y="66"/>
                  </a:lnTo>
                  <a:lnTo>
                    <a:pt x="32" y="6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6" y="64"/>
                  </a:lnTo>
                  <a:lnTo>
                    <a:pt x="338" y="72"/>
                  </a:lnTo>
                  <a:lnTo>
                    <a:pt x="338" y="7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2" y="80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0" y="78"/>
                  </a:lnTo>
                  <a:lnTo>
                    <a:pt x="26" y="72"/>
                  </a:lnTo>
                  <a:lnTo>
                    <a:pt x="26" y="72"/>
                  </a:lnTo>
                  <a:close/>
                  <a:moveTo>
                    <a:pt x="164" y="42"/>
                  </a:moveTo>
                  <a:lnTo>
                    <a:pt x="164" y="42"/>
                  </a:lnTo>
                  <a:lnTo>
                    <a:pt x="164" y="50"/>
                  </a:lnTo>
                  <a:lnTo>
                    <a:pt x="168" y="56"/>
                  </a:lnTo>
                  <a:lnTo>
                    <a:pt x="174" y="60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0" y="60"/>
                  </a:lnTo>
                  <a:lnTo>
                    <a:pt x="196" y="56"/>
                  </a:lnTo>
                  <a:lnTo>
                    <a:pt x="200" y="50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36"/>
                  </a:lnTo>
                  <a:lnTo>
                    <a:pt x="196" y="30"/>
                  </a:lnTo>
                  <a:lnTo>
                    <a:pt x="190" y="26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4" y="26"/>
                  </a:lnTo>
                  <a:lnTo>
                    <a:pt x="168" y="30"/>
                  </a:lnTo>
                  <a:lnTo>
                    <a:pt x="164" y="36"/>
                  </a:lnTo>
                  <a:lnTo>
                    <a:pt x="164" y="42"/>
                  </a:lnTo>
                  <a:lnTo>
                    <a:pt x="164" y="42"/>
                  </a:lnTo>
                  <a:close/>
                  <a:moveTo>
                    <a:pt x="230" y="252"/>
                  </a:moveTo>
                  <a:lnTo>
                    <a:pt x="230" y="252"/>
                  </a:lnTo>
                  <a:lnTo>
                    <a:pt x="234" y="250"/>
                  </a:lnTo>
                  <a:lnTo>
                    <a:pt x="236" y="248"/>
                  </a:lnTo>
                  <a:lnTo>
                    <a:pt x="238" y="246"/>
                  </a:lnTo>
                  <a:lnTo>
                    <a:pt x="240" y="242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8" y="106"/>
                  </a:lnTo>
                  <a:lnTo>
                    <a:pt x="236" y="104"/>
                  </a:lnTo>
                  <a:lnTo>
                    <a:pt x="234" y="102"/>
                  </a:lnTo>
                  <a:lnTo>
                    <a:pt x="230" y="100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0" y="102"/>
                  </a:lnTo>
                  <a:lnTo>
                    <a:pt x="128" y="104"/>
                  </a:lnTo>
                  <a:lnTo>
                    <a:pt x="126" y="106"/>
                  </a:lnTo>
                  <a:lnTo>
                    <a:pt x="124" y="11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26" y="246"/>
                  </a:lnTo>
                  <a:lnTo>
                    <a:pt x="128" y="248"/>
                  </a:lnTo>
                  <a:lnTo>
                    <a:pt x="130" y="250"/>
                  </a:lnTo>
                  <a:lnTo>
                    <a:pt x="134" y="252"/>
                  </a:lnTo>
                  <a:lnTo>
                    <a:pt x="162" y="252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4" y="162"/>
                  </a:lnTo>
                  <a:lnTo>
                    <a:pt x="168" y="156"/>
                  </a:lnTo>
                  <a:lnTo>
                    <a:pt x="174" y="152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90" y="152"/>
                  </a:lnTo>
                  <a:lnTo>
                    <a:pt x="196" y="156"/>
                  </a:lnTo>
                  <a:lnTo>
                    <a:pt x="200" y="162"/>
                  </a:lnTo>
                  <a:lnTo>
                    <a:pt x="202" y="170"/>
                  </a:lnTo>
                  <a:lnTo>
                    <a:pt x="202" y="252"/>
                  </a:lnTo>
                  <a:lnTo>
                    <a:pt x="230" y="252"/>
                  </a:lnTo>
                  <a:close/>
                  <a:moveTo>
                    <a:pt x="36" y="288"/>
                  </a:moveTo>
                  <a:lnTo>
                    <a:pt x="328" y="288"/>
                  </a:lnTo>
                  <a:lnTo>
                    <a:pt x="328" y="288"/>
                  </a:lnTo>
                  <a:lnTo>
                    <a:pt x="332" y="286"/>
                  </a:lnTo>
                  <a:lnTo>
                    <a:pt x="336" y="284"/>
                  </a:lnTo>
                  <a:lnTo>
                    <a:pt x="338" y="282"/>
                  </a:lnTo>
                  <a:lnTo>
                    <a:pt x="338" y="278"/>
                  </a:lnTo>
                  <a:lnTo>
                    <a:pt x="338" y="278"/>
                  </a:lnTo>
                  <a:lnTo>
                    <a:pt x="338" y="274"/>
                  </a:lnTo>
                  <a:lnTo>
                    <a:pt x="336" y="270"/>
                  </a:lnTo>
                  <a:lnTo>
                    <a:pt x="332" y="268"/>
                  </a:lnTo>
                  <a:lnTo>
                    <a:pt x="328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2" y="268"/>
                  </a:lnTo>
                  <a:lnTo>
                    <a:pt x="28" y="270"/>
                  </a:lnTo>
                  <a:lnTo>
                    <a:pt x="26" y="274"/>
                  </a:lnTo>
                  <a:lnTo>
                    <a:pt x="26" y="278"/>
                  </a:lnTo>
                  <a:lnTo>
                    <a:pt x="26" y="278"/>
                  </a:lnTo>
                  <a:lnTo>
                    <a:pt x="26" y="282"/>
                  </a:lnTo>
                  <a:lnTo>
                    <a:pt x="28" y="284"/>
                  </a:lnTo>
                  <a:lnTo>
                    <a:pt x="32" y="286"/>
                  </a:lnTo>
                  <a:lnTo>
                    <a:pt x="36" y="288"/>
                  </a:lnTo>
                  <a:lnTo>
                    <a:pt x="36" y="288"/>
                  </a:lnTo>
                  <a:close/>
                  <a:moveTo>
                    <a:pt x="354" y="300"/>
                  </a:moveTo>
                  <a:lnTo>
                    <a:pt x="10" y="300"/>
                  </a:lnTo>
                  <a:lnTo>
                    <a:pt x="10" y="300"/>
                  </a:lnTo>
                  <a:lnTo>
                    <a:pt x="6" y="302"/>
                  </a:lnTo>
                  <a:lnTo>
                    <a:pt x="2" y="304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4"/>
                  </a:lnTo>
                  <a:lnTo>
                    <a:pt x="2" y="318"/>
                  </a:lnTo>
                  <a:lnTo>
                    <a:pt x="6" y="320"/>
                  </a:lnTo>
                  <a:lnTo>
                    <a:pt x="10" y="320"/>
                  </a:lnTo>
                  <a:lnTo>
                    <a:pt x="354" y="320"/>
                  </a:lnTo>
                  <a:lnTo>
                    <a:pt x="354" y="320"/>
                  </a:lnTo>
                  <a:lnTo>
                    <a:pt x="358" y="320"/>
                  </a:lnTo>
                  <a:lnTo>
                    <a:pt x="362" y="318"/>
                  </a:lnTo>
                  <a:lnTo>
                    <a:pt x="364" y="314"/>
                  </a:lnTo>
                  <a:lnTo>
                    <a:pt x="364" y="310"/>
                  </a:lnTo>
                  <a:lnTo>
                    <a:pt x="364" y="310"/>
                  </a:lnTo>
                  <a:lnTo>
                    <a:pt x="364" y="306"/>
                  </a:lnTo>
                  <a:lnTo>
                    <a:pt x="362" y="304"/>
                  </a:lnTo>
                  <a:lnTo>
                    <a:pt x="358" y="302"/>
                  </a:lnTo>
                  <a:lnTo>
                    <a:pt x="354" y="300"/>
                  </a:lnTo>
                  <a:lnTo>
                    <a:pt x="354" y="300"/>
                  </a:lnTo>
                  <a:close/>
                  <a:moveTo>
                    <a:pt x="60" y="100"/>
                  </a:moveTo>
                  <a:lnTo>
                    <a:pt x="60" y="100"/>
                  </a:lnTo>
                  <a:lnTo>
                    <a:pt x="56" y="102"/>
                  </a:lnTo>
                  <a:lnTo>
                    <a:pt x="54" y="104"/>
                  </a:lnTo>
                  <a:lnTo>
                    <a:pt x="52" y="106"/>
                  </a:lnTo>
                  <a:lnTo>
                    <a:pt x="50" y="110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2" y="246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60" y="25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0" y="24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88" y="104"/>
                  </a:lnTo>
                  <a:lnTo>
                    <a:pt x="84" y="102"/>
                  </a:lnTo>
                  <a:lnTo>
                    <a:pt x="80" y="100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6DC931C8-A74C-4426-9E5D-9E15E7F95C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7296" y="3674727"/>
            <a:ext cx="640080" cy="642935"/>
          </a:xfrm>
          <a:prstGeom prst="rect">
            <a:avLst/>
          </a:prstGeom>
          <a:ln>
            <a:noFill/>
          </a:ln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C7E0B5EF-3563-45EE-8436-7150BC45D78F}"/>
              </a:ext>
            </a:extLst>
          </p:cNvPr>
          <p:cNvGrpSpPr/>
          <p:nvPr/>
        </p:nvGrpSpPr>
        <p:grpSpPr>
          <a:xfrm>
            <a:off x="4096926" y="3063815"/>
            <a:ext cx="640080" cy="640080"/>
            <a:chOff x="1467520" y="2258092"/>
            <a:chExt cx="612000" cy="61200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32E67168-12A1-49F6-885C-9D31D391A8DC}"/>
                </a:ext>
              </a:extLst>
            </p:cNvPr>
            <p:cNvSpPr/>
            <p:nvPr/>
          </p:nvSpPr>
          <p:spPr bwMode="ltGray">
            <a:xfrm>
              <a:off x="1467520" y="2258092"/>
              <a:ext cx="612000" cy="612000"/>
            </a:xfrm>
            <a:prstGeom prst="ellipse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" name="Freeform 4803">
              <a:extLst>
                <a:ext uri="{FF2B5EF4-FFF2-40B4-BE49-F238E27FC236}">
                  <a16:creationId xmlns:a16="http://schemas.microsoft.com/office/drawing/2014/main" id="{274EBE62-5D52-4FC6-A625-1C835C9E3F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081" y="2365878"/>
              <a:ext cx="460878" cy="335852"/>
            </a:xfrm>
            <a:custGeom>
              <a:avLst/>
              <a:gdLst>
                <a:gd name="T0" fmla="*/ 372 w 376"/>
                <a:gd name="T1" fmla="*/ 98 h 274"/>
                <a:gd name="T2" fmla="*/ 344 w 376"/>
                <a:gd name="T3" fmla="*/ 74 h 274"/>
                <a:gd name="T4" fmla="*/ 334 w 376"/>
                <a:gd name="T5" fmla="*/ 68 h 274"/>
                <a:gd name="T6" fmla="*/ 254 w 376"/>
                <a:gd name="T7" fmla="*/ 80 h 274"/>
                <a:gd name="T8" fmla="*/ 210 w 376"/>
                <a:gd name="T9" fmla="*/ 68 h 274"/>
                <a:gd name="T10" fmla="*/ 6 w 376"/>
                <a:gd name="T11" fmla="*/ 136 h 274"/>
                <a:gd name="T12" fmla="*/ 4 w 376"/>
                <a:gd name="T13" fmla="*/ 170 h 274"/>
                <a:gd name="T14" fmla="*/ 30 w 376"/>
                <a:gd name="T15" fmla="*/ 194 h 274"/>
                <a:gd name="T16" fmla="*/ 4 w 376"/>
                <a:gd name="T17" fmla="*/ 220 h 274"/>
                <a:gd name="T18" fmla="*/ 198 w 376"/>
                <a:gd name="T19" fmla="*/ 250 h 274"/>
                <a:gd name="T20" fmla="*/ 272 w 376"/>
                <a:gd name="T21" fmla="*/ 274 h 274"/>
                <a:gd name="T22" fmla="*/ 346 w 376"/>
                <a:gd name="T23" fmla="*/ 246 h 274"/>
                <a:gd name="T24" fmla="*/ 322 w 376"/>
                <a:gd name="T25" fmla="*/ 252 h 274"/>
                <a:gd name="T26" fmla="*/ 220 w 376"/>
                <a:gd name="T27" fmla="*/ 252 h 274"/>
                <a:gd name="T28" fmla="*/ 196 w 376"/>
                <a:gd name="T29" fmla="*/ 232 h 274"/>
                <a:gd name="T30" fmla="*/ 148 w 376"/>
                <a:gd name="T31" fmla="*/ 234 h 274"/>
                <a:gd name="T32" fmla="*/ 200 w 376"/>
                <a:gd name="T33" fmla="*/ 220 h 274"/>
                <a:gd name="T34" fmla="*/ 300 w 376"/>
                <a:gd name="T35" fmla="*/ 236 h 274"/>
                <a:gd name="T36" fmla="*/ 346 w 376"/>
                <a:gd name="T37" fmla="*/ 196 h 274"/>
                <a:gd name="T38" fmla="*/ 308 w 376"/>
                <a:gd name="T39" fmla="*/ 220 h 274"/>
                <a:gd name="T40" fmla="*/ 210 w 376"/>
                <a:gd name="T41" fmla="*/ 210 h 274"/>
                <a:gd name="T42" fmla="*/ 196 w 376"/>
                <a:gd name="T43" fmla="*/ 196 h 274"/>
                <a:gd name="T44" fmla="*/ 150 w 376"/>
                <a:gd name="T45" fmla="*/ 200 h 274"/>
                <a:gd name="T46" fmla="*/ 202 w 376"/>
                <a:gd name="T47" fmla="*/ 184 h 274"/>
                <a:gd name="T48" fmla="*/ 318 w 376"/>
                <a:gd name="T49" fmla="*/ 196 h 274"/>
                <a:gd name="T50" fmla="*/ 374 w 376"/>
                <a:gd name="T51" fmla="*/ 162 h 274"/>
                <a:gd name="T52" fmla="*/ 374 w 376"/>
                <a:gd name="T53" fmla="*/ 130 h 274"/>
                <a:gd name="T54" fmla="*/ 248 w 376"/>
                <a:gd name="T55" fmla="*/ 94 h 274"/>
                <a:gd name="T56" fmla="*/ 342 w 376"/>
                <a:gd name="T57" fmla="*/ 78 h 274"/>
                <a:gd name="T58" fmla="*/ 334 w 376"/>
                <a:gd name="T59" fmla="*/ 104 h 274"/>
                <a:gd name="T60" fmla="*/ 238 w 376"/>
                <a:gd name="T61" fmla="*/ 114 h 274"/>
                <a:gd name="T62" fmla="*/ 200 w 376"/>
                <a:gd name="T63" fmla="*/ 96 h 274"/>
                <a:gd name="T64" fmla="*/ 202 w 376"/>
                <a:gd name="T65" fmla="*/ 114 h 274"/>
                <a:gd name="T66" fmla="*/ 294 w 376"/>
                <a:gd name="T67" fmla="*/ 130 h 274"/>
                <a:gd name="T68" fmla="*/ 346 w 376"/>
                <a:gd name="T69" fmla="*/ 124 h 274"/>
                <a:gd name="T70" fmla="*/ 338 w 376"/>
                <a:gd name="T71" fmla="*/ 136 h 274"/>
                <a:gd name="T72" fmla="*/ 272 w 376"/>
                <a:gd name="T73" fmla="*/ 152 h 274"/>
                <a:gd name="T74" fmla="*/ 214 w 376"/>
                <a:gd name="T75" fmla="*/ 142 h 274"/>
                <a:gd name="T76" fmla="*/ 198 w 376"/>
                <a:gd name="T77" fmla="*/ 118 h 274"/>
                <a:gd name="T78" fmla="*/ 134 w 376"/>
                <a:gd name="T79" fmla="*/ 150 h 274"/>
                <a:gd name="T80" fmla="*/ 100 w 376"/>
                <a:gd name="T81" fmla="*/ 136 h 274"/>
                <a:gd name="T82" fmla="*/ 158 w 376"/>
                <a:gd name="T83" fmla="*/ 128 h 274"/>
                <a:gd name="T84" fmla="*/ 162 w 376"/>
                <a:gd name="T85" fmla="*/ 144 h 274"/>
                <a:gd name="T86" fmla="*/ 346 w 376"/>
                <a:gd name="T87" fmla="*/ 162 h 274"/>
                <a:gd name="T88" fmla="*/ 342 w 376"/>
                <a:gd name="T89" fmla="*/ 168 h 274"/>
                <a:gd name="T90" fmla="*/ 322 w 376"/>
                <a:gd name="T91" fmla="*/ 180 h 274"/>
                <a:gd name="T92" fmla="*/ 220 w 376"/>
                <a:gd name="T93" fmla="*/ 180 h 274"/>
                <a:gd name="T94" fmla="*/ 200 w 376"/>
                <a:gd name="T95" fmla="*/ 168 h 274"/>
                <a:gd name="T96" fmla="*/ 198 w 376"/>
                <a:gd name="T97" fmla="*/ 154 h 274"/>
                <a:gd name="T98" fmla="*/ 272 w 376"/>
                <a:gd name="T99" fmla="*/ 166 h 274"/>
                <a:gd name="T100" fmla="*/ 346 w 376"/>
                <a:gd name="T101" fmla="*/ 160 h 274"/>
                <a:gd name="T102" fmla="*/ 196 w 376"/>
                <a:gd name="T103" fmla="*/ 28 h 274"/>
                <a:gd name="T104" fmla="*/ 272 w 376"/>
                <a:gd name="T105" fmla="*/ 0 h 274"/>
                <a:gd name="T106" fmla="*/ 344 w 376"/>
                <a:gd name="T107" fmla="*/ 24 h 274"/>
                <a:gd name="T108" fmla="*/ 322 w 376"/>
                <a:gd name="T109" fmla="*/ 50 h 274"/>
                <a:gd name="T110" fmla="*/ 220 w 376"/>
                <a:gd name="T111" fmla="*/ 5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6" h="274">
                  <a:moveTo>
                    <a:pt x="376" y="126"/>
                  </a:moveTo>
                  <a:lnTo>
                    <a:pt x="376" y="126"/>
                  </a:lnTo>
                  <a:lnTo>
                    <a:pt x="374" y="122"/>
                  </a:lnTo>
                  <a:lnTo>
                    <a:pt x="370" y="120"/>
                  </a:lnTo>
                  <a:lnTo>
                    <a:pt x="346" y="11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6" y="96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6" y="86"/>
                  </a:lnTo>
                  <a:lnTo>
                    <a:pt x="372" y="84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0"/>
                  </a:lnTo>
                  <a:lnTo>
                    <a:pt x="346" y="66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6"/>
                  </a:lnTo>
                  <a:lnTo>
                    <a:pt x="344" y="60"/>
                  </a:lnTo>
                  <a:lnTo>
                    <a:pt x="334" y="68"/>
                  </a:lnTo>
                  <a:lnTo>
                    <a:pt x="334" y="68"/>
                  </a:lnTo>
                  <a:lnTo>
                    <a:pt x="322" y="72"/>
                  </a:lnTo>
                  <a:lnTo>
                    <a:pt x="308" y="76"/>
                  </a:lnTo>
                  <a:lnTo>
                    <a:pt x="290" y="80"/>
                  </a:lnTo>
                  <a:lnTo>
                    <a:pt x="272" y="80"/>
                  </a:lnTo>
                  <a:lnTo>
                    <a:pt x="272" y="80"/>
                  </a:lnTo>
                  <a:lnTo>
                    <a:pt x="254" y="80"/>
                  </a:lnTo>
                  <a:lnTo>
                    <a:pt x="238" y="78"/>
                  </a:lnTo>
                  <a:lnTo>
                    <a:pt x="226" y="74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0" y="60"/>
                  </a:lnTo>
                  <a:lnTo>
                    <a:pt x="198" y="5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4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2" y="138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8"/>
                  </a:lnTo>
                  <a:lnTo>
                    <a:pt x="6" y="150"/>
                  </a:lnTo>
                  <a:lnTo>
                    <a:pt x="30" y="158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30" y="194"/>
                  </a:lnTo>
                  <a:lnTo>
                    <a:pt x="4" y="206"/>
                  </a:lnTo>
                  <a:lnTo>
                    <a:pt x="4" y="206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8"/>
                  </a:lnTo>
                  <a:lnTo>
                    <a:pt x="4" y="22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4" y="27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200" y="254"/>
                  </a:lnTo>
                  <a:lnTo>
                    <a:pt x="206" y="258"/>
                  </a:lnTo>
                  <a:lnTo>
                    <a:pt x="212" y="264"/>
                  </a:lnTo>
                  <a:lnTo>
                    <a:pt x="222" y="266"/>
                  </a:lnTo>
                  <a:lnTo>
                    <a:pt x="244" y="272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300" y="272"/>
                  </a:lnTo>
                  <a:lnTo>
                    <a:pt x="314" y="270"/>
                  </a:lnTo>
                  <a:lnTo>
                    <a:pt x="324" y="266"/>
                  </a:lnTo>
                  <a:lnTo>
                    <a:pt x="334" y="262"/>
                  </a:lnTo>
                  <a:lnTo>
                    <a:pt x="340" y="256"/>
                  </a:lnTo>
                  <a:lnTo>
                    <a:pt x="344" y="252"/>
                  </a:lnTo>
                  <a:lnTo>
                    <a:pt x="346" y="246"/>
                  </a:lnTo>
                  <a:lnTo>
                    <a:pt x="346" y="230"/>
                  </a:lnTo>
                  <a:lnTo>
                    <a:pt x="346" y="230"/>
                  </a:lnTo>
                  <a:lnTo>
                    <a:pt x="346" y="236"/>
                  </a:lnTo>
                  <a:lnTo>
                    <a:pt x="344" y="240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22" y="252"/>
                  </a:lnTo>
                  <a:lnTo>
                    <a:pt x="308" y="256"/>
                  </a:lnTo>
                  <a:lnTo>
                    <a:pt x="290" y="258"/>
                  </a:lnTo>
                  <a:lnTo>
                    <a:pt x="272" y="260"/>
                  </a:lnTo>
                  <a:lnTo>
                    <a:pt x="272" y="260"/>
                  </a:lnTo>
                  <a:lnTo>
                    <a:pt x="252" y="258"/>
                  </a:lnTo>
                  <a:lnTo>
                    <a:pt x="236" y="256"/>
                  </a:lnTo>
                  <a:lnTo>
                    <a:pt x="220" y="252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6" y="230"/>
                  </a:lnTo>
                  <a:lnTo>
                    <a:pt x="196" y="232"/>
                  </a:lnTo>
                  <a:lnTo>
                    <a:pt x="150" y="254"/>
                  </a:lnTo>
                  <a:lnTo>
                    <a:pt x="28" y="212"/>
                  </a:lnTo>
                  <a:lnTo>
                    <a:pt x="52" y="200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4" y="234"/>
                  </a:lnTo>
                  <a:lnTo>
                    <a:pt x="198" y="214"/>
                  </a:lnTo>
                  <a:lnTo>
                    <a:pt x="198" y="214"/>
                  </a:lnTo>
                  <a:lnTo>
                    <a:pt x="200" y="220"/>
                  </a:lnTo>
                  <a:lnTo>
                    <a:pt x="206" y="224"/>
                  </a:lnTo>
                  <a:lnTo>
                    <a:pt x="214" y="228"/>
                  </a:lnTo>
                  <a:lnTo>
                    <a:pt x="222" y="232"/>
                  </a:lnTo>
                  <a:lnTo>
                    <a:pt x="246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300" y="236"/>
                  </a:lnTo>
                  <a:lnTo>
                    <a:pt x="314" y="234"/>
                  </a:lnTo>
                  <a:lnTo>
                    <a:pt x="324" y="230"/>
                  </a:lnTo>
                  <a:lnTo>
                    <a:pt x="334" y="226"/>
                  </a:lnTo>
                  <a:lnTo>
                    <a:pt x="340" y="220"/>
                  </a:lnTo>
                  <a:lnTo>
                    <a:pt x="344" y="216"/>
                  </a:lnTo>
                  <a:lnTo>
                    <a:pt x="346" y="210"/>
                  </a:lnTo>
                  <a:lnTo>
                    <a:pt x="346" y="196"/>
                  </a:lnTo>
                  <a:lnTo>
                    <a:pt x="346" y="196"/>
                  </a:lnTo>
                  <a:lnTo>
                    <a:pt x="346" y="200"/>
                  </a:lnTo>
                  <a:lnTo>
                    <a:pt x="344" y="204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22" y="216"/>
                  </a:lnTo>
                  <a:lnTo>
                    <a:pt x="308" y="220"/>
                  </a:lnTo>
                  <a:lnTo>
                    <a:pt x="290" y="222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52" y="222"/>
                  </a:lnTo>
                  <a:lnTo>
                    <a:pt x="236" y="220"/>
                  </a:lnTo>
                  <a:lnTo>
                    <a:pt x="220" y="216"/>
                  </a:lnTo>
                  <a:lnTo>
                    <a:pt x="210" y="210"/>
                  </a:lnTo>
                  <a:lnTo>
                    <a:pt x="210" y="210"/>
                  </a:lnTo>
                  <a:lnTo>
                    <a:pt x="208" y="210"/>
                  </a:lnTo>
                  <a:lnTo>
                    <a:pt x="208" y="210"/>
                  </a:lnTo>
                  <a:lnTo>
                    <a:pt x="200" y="204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6"/>
                  </a:lnTo>
                  <a:lnTo>
                    <a:pt x="196" y="198"/>
                  </a:lnTo>
                  <a:lnTo>
                    <a:pt x="152" y="218"/>
                  </a:lnTo>
                  <a:lnTo>
                    <a:pt x="72" y="192"/>
                  </a:lnTo>
                  <a:lnTo>
                    <a:pt x="50" y="184"/>
                  </a:lnTo>
                  <a:lnTo>
                    <a:pt x="28" y="176"/>
                  </a:lnTo>
                  <a:lnTo>
                    <a:pt x="52" y="166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98" y="180"/>
                  </a:lnTo>
                  <a:lnTo>
                    <a:pt x="198" y="180"/>
                  </a:lnTo>
                  <a:lnTo>
                    <a:pt x="202" y="184"/>
                  </a:lnTo>
                  <a:lnTo>
                    <a:pt x="208" y="188"/>
                  </a:lnTo>
                  <a:lnTo>
                    <a:pt x="224" y="196"/>
                  </a:lnTo>
                  <a:lnTo>
                    <a:pt x="246" y="200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96" y="200"/>
                  </a:lnTo>
                  <a:lnTo>
                    <a:pt x="318" y="196"/>
                  </a:lnTo>
                  <a:lnTo>
                    <a:pt x="334" y="190"/>
                  </a:lnTo>
                  <a:lnTo>
                    <a:pt x="340" y="186"/>
                  </a:lnTo>
                  <a:lnTo>
                    <a:pt x="344" y="180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74" y="166"/>
                  </a:lnTo>
                  <a:lnTo>
                    <a:pt x="374" y="162"/>
                  </a:lnTo>
                  <a:lnTo>
                    <a:pt x="374" y="162"/>
                  </a:lnTo>
                  <a:lnTo>
                    <a:pt x="374" y="156"/>
                  </a:lnTo>
                  <a:lnTo>
                    <a:pt x="370" y="154"/>
                  </a:lnTo>
                  <a:lnTo>
                    <a:pt x="346" y="146"/>
                  </a:lnTo>
                  <a:lnTo>
                    <a:pt x="372" y="134"/>
                  </a:lnTo>
                  <a:lnTo>
                    <a:pt x="372" y="134"/>
                  </a:lnTo>
                  <a:lnTo>
                    <a:pt x="374" y="130"/>
                  </a:lnTo>
                  <a:lnTo>
                    <a:pt x="376" y="126"/>
                  </a:lnTo>
                  <a:lnTo>
                    <a:pt x="376" y="126"/>
                  </a:lnTo>
                  <a:close/>
                  <a:moveTo>
                    <a:pt x="202" y="78"/>
                  </a:moveTo>
                  <a:lnTo>
                    <a:pt x="202" y="78"/>
                  </a:lnTo>
                  <a:lnTo>
                    <a:pt x="214" y="84"/>
                  </a:lnTo>
                  <a:lnTo>
                    <a:pt x="230" y="90"/>
                  </a:lnTo>
                  <a:lnTo>
                    <a:pt x="248" y="94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94" y="94"/>
                  </a:lnTo>
                  <a:lnTo>
                    <a:pt x="314" y="90"/>
                  </a:lnTo>
                  <a:lnTo>
                    <a:pt x="330" y="84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346" y="82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92"/>
                  </a:lnTo>
                  <a:lnTo>
                    <a:pt x="344" y="96"/>
                  </a:lnTo>
                  <a:lnTo>
                    <a:pt x="334" y="104"/>
                  </a:lnTo>
                  <a:lnTo>
                    <a:pt x="334" y="104"/>
                  </a:lnTo>
                  <a:lnTo>
                    <a:pt x="322" y="108"/>
                  </a:lnTo>
                  <a:lnTo>
                    <a:pt x="308" y="112"/>
                  </a:lnTo>
                  <a:lnTo>
                    <a:pt x="290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54" y="116"/>
                  </a:lnTo>
                  <a:lnTo>
                    <a:pt x="238" y="114"/>
                  </a:lnTo>
                  <a:lnTo>
                    <a:pt x="226" y="110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00" y="96"/>
                  </a:lnTo>
                  <a:lnTo>
                    <a:pt x="198" y="92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8" y="82"/>
                  </a:lnTo>
                  <a:lnTo>
                    <a:pt x="202" y="78"/>
                  </a:lnTo>
                  <a:lnTo>
                    <a:pt x="202" y="78"/>
                  </a:lnTo>
                  <a:close/>
                  <a:moveTo>
                    <a:pt x="202" y="114"/>
                  </a:moveTo>
                  <a:lnTo>
                    <a:pt x="202" y="114"/>
                  </a:lnTo>
                  <a:lnTo>
                    <a:pt x="214" y="120"/>
                  </a:lnTo>
                  <a:lnTo>
                    <a:pt x="230" y="126"/>
                  </a:lnTo>
                  <a:lnTo>
                    <a:pt x="248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94" y="130"/>
                  </a:lnTo>
                  <a:lnTo>
                    <a:pt x="314" y="126"/>
                  </a:lnTo>
                  <a:lnTo>
                    <a:pt x="330" y="120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6" y="118"/>
                  </a:lnTo>
                  <a:lnTo>
                    <a:pt x="346" y="124"/>
                  </a:lnTo>
                  <a:lnTo>
                    <a:pt x="346" y="124"/>
                  </a:lnTo>
                  <a:lnTo>
                    <a:pt x="346" y="128"/>
                  </a:lnTo>
                  <a:lnTo>
                    <a:pt x="346" y="128"/>
                  </a:lnTo>
                  <a:lnTo>
                    <a:pt x="342" y="132"/>
                  </a:lnTo>
                  <a:lnTo>
                    <a:pt x="342" y="132"/>
                  </a:lnTo>
                  <a:lnTo>
                    <a:pt x="340" y="134"/>
                  </a:lnTo>
                  <a:lnTo>
                    <a:pt x="340" y="134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2" y="144"/>
                  </a:lnTo>
                  <a:lnTo>
                    <a:pt x="308" y="148"/>
                  </a:lnTo>
                  <a:lnTo>
                    <a:pt x="290" y="15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54" y="152"/>
                  </a:lnTo>
                  <a:lnTo>
                    <a:pt x="238" y="148"/>
                  </a:lnTo>
                  <a:lnTo>
                    <a:pt x="226" y="146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0" y="140"/>
                  </a:lnTo>
                  <a:lnTo>
                    <a:pt x="210" y="140"/>
                  </a:lnTo>
                  <a:lnTo>
                    <a:pt x="200" y="132"/>
                  </a:lnTo>
                  <a:lnTo>
                    <a:pt x="198" y="12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198" y="118"/>
                  </a:lnTo>
                  <a:lnTo>
                    <a:pt x="202" y="114"/>
                  </a:lnTo>
                  <a:lnTo>
                    <a:pt x="202" y="114"/>
                  </a:lnTo>
                  <a:close/>
                  <a:moveTo>
                    <a:pt x="162" y="144"/>
                  </a:moveTo>
                  <a:lnTo>
                    <a:pt x="162" y="144"/>
                  </a:lnTo>
                  <a:lnTo>
                    <a:pt x="150" y="150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16" y="150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0" y="142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2" y="132"/>
                  </a:lnTo>
                  <a:lnTo>
                    <a:pt x="110" y="128"/>
                  </a:lnTo>
                  <a:lnTo>
                    <a:pt x="120" y="126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48" y="126"/>
                  </a:lnTo>
                  <a:lnTo>
                    <a:pt x="158" y="128"/>
                  </a:lnTo>
                  <a:lnTo>
                    <a:pt x="166" y="132"/>
                  </a:lnTo>
                  <a:lnTo>
                    <a:pt x="168" y="136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6" y="142"/>
                  </a:lnTo>
                  <a:lnTo>
                    <a:pt x="162" y="144"/>
                  </a:lnTo>
                  <a:lnTo>
                    <a:pt x="162" y="144"/>
                  </a:lnTo>
                  <a:close/>
                  <a:moveTo>
                    <a:pt x="346" y="160"/>
                  </a:moveTo>
                  <a:lnTo>
                    <a:pt x="346" y="160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2" y="168"/>
                  </a:lnTo>
                  <a:lnTo>
                    <a:pt x="342" y="168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8" y="172"/>
                  </a:lnTo>
                  <a:lnTo>
                    <a:pt x="338" y="172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22" y="180"/>
                  </a:lnTo>
                  <a:lnTo>
                    <a:pt x="308" y="184"/>
                  </a:lnTo>
                  <a:lnTo>
                    <a:pt x="290" y="186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52" y="186"/>
                  </a:lnTo>
                  <a:lnTo>
                    <a:pt x="236" y="184"/>
                  </a:lnTo>
                  <a:lnTo>
                    <a:pt x="220" y="180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8" y="154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14" y="156"/>
                  </a:lnTo>
                  <a:lnTo>
                    <a:pt x="230" y="162"/>
                  </a:lnTo>
                  <a:lnTo>
                    <a:pt x="248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94" y="166"/>
                  </a:lnTo>
                  <a:lnTo>
                    <a:pt x="314" y="162"/>
                  </a:lnTo>
                  <a:lnTo>
                    <a:pt x="330" y="156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6" y="154"/>
                  </a:lnTo>
                  <a:lnTo>
                    <a:pt x="346" y="160"/>
                  </a:lnTo>
                  <a:lnTo>
                    <a:pt x="346" y="160"/>
                  </a:lnTo>
                  <a:close/>
                  <a:moveTo>
                    <a:pt x="346" y="128"/>
                  </a:moveTo>
                  <a:lnTo>
                    <a:pt x="346" y="128"/>
                  </a:lnTo>
                  <a:lnTo>
                    <a:pt x="348" y="128"/>
                  </a:lnTo>
                  <a:lnTo>
                    <a:pt x="346" y="128"/>
                  </a:lnTo>
                  <a:close/>
                  <a:moveTo>
                    <a:pt x="196" y="28"/>
                  </a:moveTo>
                  <a:lnTo>
                    <a:pt x="196" y="28"/>
                  </a:lnTo>
                  <a:lnTo>
                    <a:pt x="198" y="24"/>
                  </a:lnTo>
                  <a:lnTo>
                    <a:pt x="202" y="18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30" y="6"/>
                  </a:lnTo>
                  <a:lnTo>
                    <a:pt x="242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2"/>
                  </a:lnTo>
                  <a:lnTo>
                    <a:pt x="314" y="6"/>
                  </a:lnTo>
                  <a:lnTo>
                    <a:pt x="324" y="8"/>
                  </a:lnTo>
                  <a:lnTo>
                    <a:pt x="334" y="14"/>
                  </a:lnTo>
                  <a:lnTo>
                    <a:pt x="340" y="18"/>
                  </a:lnTo>
                  <a:lnTo>
                    <a:pt x="344" y="24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34"/>
                  </a:lnTo>
                  <a:lnTo>
                    <a:pt x="344" y="38"/>
                  </a:lnTo>
                  <a:lnTo>
                    <a:pt x="334" y="44"/>
                  </a:lnTo>
                  <a:lnTo>
                    <a:pt x="334" y="44"/>
                  </a:lnTo>
                  <a:lnTo>
                    <a:pt x="322" y="50"/>
                  </a:lnTo>
                  <a:lnTo>
                    <a:pt x="308" y="54"/>
                  </a:lnTo>
                  <a:lnTo>
                    <a:pt x="290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52" y="56"/>
                  </a:lnTo>
                  <a:lnTo>
                    <a:pt x="236" y="54"/>
                  </a:lnTo>
                  <a:lnTo>
                    <a:pt x="220" y="50"/>
                  </a:lnTo>
                  <a:lnTo>
                    <a:pt x="210" y="44"/>
                  </a:lnTo>
                  <a:lnTo>
                    <a:pt x="210" y="44"/>
                  </a:lnTo>
                  <a:lnTo>
                    <a:pt x="200" y="38"/>
                  </a:lnTo>
                  <a:lnTo>
                    <a:pt x="198" y="34"/>
                  </a:lnTo>
                  <a:lnTo>
                    <a:pt x="196" y="28"/>
                  </a:lnTo>
                  <a:lnTo>
                    <a:pt x="196" y="2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A1F49FC-7538-4C9B-84D8-251FB0EFE268}"/>
              </a:ext>
            </a:extLst>
          </p:cNvPr>
          <p:cNvGrpSpPr/>
          <p:nvPr/>
        </p:nvGrpSpPr>
        <p:grpSpPr>
          <a:xfrm>
            <a:off x="2119970" y="1793194"/>
            <a:ext cx="640080" cy="640080"/>
            <a:chOff x="589752" y="5907019"/>
            <a:chExt cx="612000" cy="6120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0515C97-7495-4D24-B51F-D1CDF4217FDC}"/>
                </a:ext>
              </a:extLst>
            </p:cNvPr>
            <p:cNvSpPr/>
            <p:nvPr/>
          </p:nvSpPr>
          <p:spPr bwMode="ltGray">
            <a:xfrm>
              <a:off x="589752" y="5907019"/>
              <a:ext cx="612000" cy="612000"/>
            </a:xfrm>
            <a:prstGeom prst="ellipse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Freeform 4842">
              <a:extLst>
                <a:ext uri="{FF2B5EF4-FFF2-40B4-BE49-F238E27FC236}">
                  <a16:creationId xmlns:a16="http://schemas.microsoft.com/office/drawing/2014/main" id="{CF496CC3-E45D-4C75-969B-ADAE1A1958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511" y="6027148"/>
              <a:ext cx="382483" cy="362614"/>
            </a:xfrm>
            <a:custGeom>
              <a:avLst/>
              <a:gdLst>
                <a:gd name="T0" fmla="*/ 52 w 308"/>
                <a:gd name="T1" fmla="*/ 4 h 292"/>
                <a:gd name="T2" fmla="*/ 244 w 308"/>
                <a:gd name="T3" fmla="*/ 0 h 292"/>
                <a:gd name="T4" fmla="*/ 308 w 308"/>
                <a:gd name="T5" fmla="*/ 68 h 292"/>
                <a:gd name="T6" fmla="*/ 304 w 308"/>
                <a:gd name="T7" fmla="*/ 266 h 292"/>
                <a:gd name="T8" fmla="*/ 248 w 308"/>
                <a:gd name="T9" fmla="*/ 292 h 292"/>
                <a:gd name="T10" fmla="*/ 16 w 308"/>
                <a:gd name="T11" fmla="*/ 292 h 292"/>
                <a:gd name="T12" fmla="*/ 4 w 308"/>
                <a:gd name="T13" fmla="*/ 266 h 292"/>
                <a:gd name="T14" fmla="*/ 0 w 308"/>
                <a:gd name="T15" fmla="*/ 68 h 292"/>
                <a:gd name="T16" fmla="*/ 16 w 308"/>
                <a:gd name="T17" fmla="*/ 52 h 292"/>
                <a:gd name="T18" fmla="*/ 304 w 308"/>
                <a:gd name="T19" fmla="*/ 56 h 292"/>
                <a:gd name="T20" fmla="*/ 166 w 308"/>
                <a:gd name="T21" fmla="*/ 162 h 292"/>
                <a:gd name="T22" fmla="*/ 154 w 308"/>
                <a:gd name="T23" fmla="*/ 124 h 292"/>
                <a:gd name="T24" fmla="*/ 114 w 308"/>
                <a:gd name="T25" fmla="*/ 98 h 292"/>
                <a:gd name="T26" fmla="*/ 74 w 308"/>
                <a:gd name="T27" fmla="*/ 100 h 292"/>
                <a:gd name="T28" fmla="*/ 40 w 308"/>
                <a:gd name="T29" fmla="*/ 136 h 292"/>
                <a:gd name="T30" fmla="*/ 36 w 308"/>
                <a:gd name="T31" fmla="*/ 174 h 292"/>
                <a:gd name="T32" fmla="*/ 64 w 308"/>
                <a:gd name="T33" fmla="*/ 216 h 292"/>
                <a:gd name="T34" fmla="*/ 100 w 308"/>
                <a:gd name="T35" fmla="*/ 228 h 292"/>
                <a:gd name="T36" fmla="*/ 146 w 308"/>
                <a:gd name="T37" fmla="*/ 208 h 292"/>
                <a:gd name="T38" fmla="*/ 166 w 308"/>
                <a:gd name="T39" fmla="*/ 162 h 292"/>
                <a:gd name="T40" fmla="*/ 268 w 308"/>
                <a:gd name="T41" fmla="*/ 110 h 292"/>
                <a:gd name="T42" fmla="*/ 244 w 308"/>
                <a:gd name="T43" fmla="*/ 96 h 292"/>
                <a:gd name="T44" fmla="*/ 218 w 308"/>
                <a:gd name="T45" fmla="*/ 120 h 292"/>
                <a:gd name="T46" fmla="*/ 226 w 308"/>
                <a:gd name="T47" fmla="*/ 140 h 292"/>
                <a:gd name="T48" fmla="*/ 232 w 308"/>
                <a:gd name="T49" fmla="*/ 222 h 292"/>
                <a:gd name="T50" fmla="*/ 244 w 308"/>
                <a:gd name="T51" fmla="*/ 230 h 292"/>
                <a:gd name="T52" fmla="*/ 256 w 308"/>
                <a:gd name="T53" fmla="*/ 218 h 292"/>
                <a:gd name="T54" fmla="*/ 266 w 308"/>
                <a:gd name="T55" fmla="*/ 134 h 292"/>
                <a:gd name="T56" fmla="*/ 142 w 308"/>
                <a:gd name="T57" fmla="*/ 168 h 292"/>
                <a:gd name="T58" fmla="*/ 140 w 308"/>
                <a:gd name="T59" fmla="*/ 192 h 292"/>
                <a:gd name="T60" fmla="*/ 124 w 308"/>
                <a:gd name="T61" fmla="*/ 186 h 292"/>
                <a:gd name="T62" fmla="*/ 130 w 308"/>
                <a:gd name="T63" fmla="*/ 202 h 292"/>
                <a:gd name="T64" fmla="*/ 108 w 308"/>
                <a:gd name="T65" fmla="*/ 204 h 292"/>
                <a:gd name="T66" fmla="*/ 100 w 308"/>
                <a:gd name="T67" fmla="*/ 196 h 292"/>
                <a:gd name="T68" fmla="*/ 92 w 308"/>
                <a:gd name="T69" fmla="*/ 212 h 292"/>
                <a:gd name="T70" fmla="*/ 76 w 308"/>
                <a:gd name="T71" fmla="*/ 196 h 292"/>
                <a:gd name="T72" fmla="*/ 70 w 308"/>
                <a:gd name="T73" fmla="*/ 184 h 292"/>
                <a:gd name="T74" fmla="*/ 54 w 308"/>
                <a:gd name="T75" fmla="*/ 180 h 292"/>
                <a:gd name="T76" fmla="*/ 64 w 308"/>
                <a:gd name="T77" fmla="*/ 166 h 292"/>
                <a:gd name="T78" fmla="*/ 58 w 308"/>
                <a:gd name="T79" fmla="*/ 154 h 292"/>
                <a:gd name="T80" fmla="*/ 60 w 308"/>
                <a:gd name="T81" fmla="*/ 132 h 292"/>
                <a:gd name="T82" fmla="*/ 70 w 308"/>
                <a:gd name="T83" fmla="*/ 140 h 292"/>
                <a:gd name="T84" fmla="*/ 76 w 308"/>
                <a:gd name="T85" fmla="*/ 126 h 292"/>
                <a:gd name="T86" fmla="*/ 92 w 308"/>
                <a:gd name="T87" fmla="*/ 112 h 292"/>
                <a:gd name="T88" fmla="*/ 100 w 308"/>
                <a:gd name="T89" fmla="*/ 128 h 292"/>
                <a:gd name="T90" fmla="*/ 108 w 308"/>
                <a:gd name="T91" fmla="*/ 112 h 292"/>
                <a:gd name="T92" fmla="*/ 124 w 308"/>
                <a:gd name="T93" fmla="*/ 126 h 292"/>
                <a:gd name="T94" fmla="*/ 124 w 308"/>
                <a:gd name="T95" fmla="*/ 138 h 292"/>
                <a:gd name="T96" fmla="*/ 140 w 308"/>
                <a:gd name="T97" fmla="*/ 130 h 292"/>
                <a:gd name="T98" fmla="*/ 142 w 308"/>
                <a:gd name="T99" fmla="*/ 154 h 292"/>
                <a:gd name="T100" fmla="*/ 134 w 308"/>
                <a:gd name="T101" fmla="*/ 162 h 292"/>
                <a:gd name="T102" fmla="*/ 120 w 308"/>
                <a:gd name="T103" fmla="*/ 162 h 292"/>
                <a:gd name="T104" fmla="*/ 108 w 308"/>
                <a:gd name="T105" fmla="*/ 142 h 292"/>
                <a:gd name="T106" fmla="*/ 86 w 308"/>
                <a:gd name="T107" fmla="*/ 146 h 292"/>
                <a:gd name="T108" fmla="*/ 82 w 308"/>
                <a:gd name="T109" fmla="*/ 170 h 292"/>
                <a:gd name="T110" fmla="*/ 100 w 308"/>
                <a:gd name="T111" fmla="*/ 182 h 292"/>
                <a:gd name="T112" fmla="*/ 120 w 308"/>
                <a:gd name="T113" fmla="*/ 16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8" h="292">
                  <a:moveTo>
                    <a:pt x="290" y="32"/>
                  </a:moveTo>
                  <a:lnTo>
                    <a:pt x="18" y="32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50" y="0"/>
                  </a:lnTo>
                  <a:lnTo>
                    <a:pt x="256" y="4"/>
                  </a:lnTo>
                  <a:lnTo>
                    <a:pt x="290" y="32"/>
                  </a:lnTo>
                  <a:close/>
                  <a:moveTo>
                    <a:pt x="308" y="68"/>
                  </a:moveTo>
                  <a:lnTo>
                    <a:pt x="308" y="256"/>
                  </a:lnTo>
                  <a:lnTo>
                    <a:pt x="308" y="256"/>
                  </a:lnTo>
                  <a:lnTo>
                    <a:pt x="308" y="262"/>
                  </a:lnTo>
                  <a:lnTo>
                    <a:pt x="304" y="266"/>
                  </a:lnTo>
                  <a:lnTo>
                    <a:pt x="298" y="270"/>
                  </a:lnTo>
                  <a:lnTo>
                    <a:pt x="292" y="272"/>
                  </a:lnTo>
                  <a:lnTo>
                    <a:pt x="292" y="292"/>
                  </a:lnTo>
                  <a:lnTo>
                    <a:pt x="248" y="292"/>
                  </a:lnTo>
                  <a:lnTo>
                    <a:pt x="248" y="272"/>
                  </a:lnTo>
                  <a:lnTo>
                    <a:pt x="60" y="272"/>
                  </a:lnTo>
                  <a:lnTo>
                    <a:pt x="60" y="292"/>
                  </a:lnTo>
                  <a:lnTo>
                    <a:pt x="16" y="292"/>
                  </a:lnTo>
                  <a:lnTo>
                    <a:pt x="16" y="272"/>
                  </a:lnTo>
                  <a:lnTo>
                    <a:pt x="16" y="272"/>
                  </a:lnTo>
                  <a:lnTo>
                    <a:pt x="10" y="270"/>
                  </a:lnTo>
                  <a:lnTo>
                    <a:pt x="4" y="266"/>
                  </a:lnTo>
                  <a:lnTo>
                    <a:pt x="0" y="262"/>
                  </a:lnTo>
                  <a:lnTo>
                    <a:pt x="0" y="25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2"/>
                  </a:lnTo>
                  <a:lnTo>
                    <a:pt x="4" y="56"/>
                  </a:lnTo>
                  <a:lnTo>
                    <a:pt x="10" y="52"/>
                  </a:lnTo>
                  <a:lnTo>
                    <a:pt x="16" y="52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8" y="52"/>
                  </a:lnTo>
                  <a:lnTo>
                    <a:pt x="304" y="56"/>
                  </a:lnTo>
                  <a:lnTo>
                    <a:pt x="308" y="62"/>
                  </a:lnTo>
                  <a:lnTo>
                    <a:pt x="308" y="68"/>
                  </a:lnTo>
                  <a:lnTo>
                    <a:pt x="308" y="68"/>
                  </a:lnTo>
                  <a:close/>
                  <a:moveTo>
                    <a:pt x="166" y="162"/>
                  </a:moveTo>
                  <a:lnTo>
                    <a:pt x="166" y="162"/>
                  </a:lnTo>
                  <a:lnTo>
                    <a:pt x="164" y="148"/>
                  </a:lnTo>
                  <a:lnTo>
                    <a:pt x="160" y="136"/>
                  </a:lnTo>
                  <a:lnTo>
                    <a:pt x="154" y="124"/>
                  </a:lnTo>
                  <a:lnTo>
                    <a:pt x="146" y="114"/>
                  </a:lnTo>
                  <a:lnTo>
                    <a:pt x="136" y="106"/>
                  </a:lnTo>
                  <a:lnTo>
                    <a:pt x="126" y="100"/>
                  </a:lnTo>
                  <a:lnTo>
                    <a:pt x="114" y="98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86" y="98"/>
                  </a:lnTo>
                  <a:lnTo>
                    <a:pt x="74" y="100"/>
                  </a:lnTo>
                  <a:lnTo>
                    <a:pt x="64" y="106"/>
                  </a:lnTo>
                  <a:lnTo>
                    <a:pt x="54" y="114"/>
                  </a:lnTo>
                  <a:lnTo>
                    <a:pt x="46" y="124"/>
                  </a:lnTo>
                  <a:lnTo>
                    <a:pt x="40" y="136"/>
                  </a:lnTo>
                  <a:lnTo>
                    <a:pt x="36" y="148"/>
                  </a:lnTo>
                  <a:lnTo>
                    <a:pt x="34" y="162"/>
                  </a:lnTo>
                  <a:lnTo>
                    <a:pt x="34" y="162"/>
                  </a:lnTo>
                  <a:lnTo>
                    <a:pt x="36" y="174"/>
                  </a:lnTo>
                  <a:lnTo>
                    <a:pt x="40" y="186"/>
                  </a:lnTo>
                  <a:lnTo>
                    <a:pt x="46" y="198"/>
                  </a:lnTo>
                  <a:lnTo>
                    <a:pt x="54" y="208"/>
                  </a:lnTo>
                  <a:lnTo>
                    <a:pt x="64" y="216"/>
                  </a:lnTo>
                  <a:lnTo>
                    <a:pt x="74" y="222"/>
                  </a:lnTo>
                  <a:lnTo>
                    <a:pt x="86" y="226"/>
                  </a:lnTo>
                  <a:lnTo>
                    <a:pt x="100" y="228"/>
                  </a:lnTo>
                  <a:lnTo>
                    <a:pt x="100" y="228"/>
                  </a:lnTo>
                  <a:lnTo>
                    <a:pt x="114" y="226"/>
                  </a:lnTo>
                  <a:lnTo>
                    <a:pt x="126" y="222"/>
                  </a:lnTo>
                  <a:lnTo>
                    <a:pt x="136" y="216"/>
                  </a:lnTo>
                  <a:lnTo>
                    <a:pt x="146" y="208"/>
                  </a:lnTo>
                  <a:lnTo>
                    <a:pt x="154" y="198"/>
                  </a:lnTo>
                  <a:lnTo>
                    <a:pt x="160" y="186"/>
                  </a:lnTo>
                  <a:lnTo>
                    <a:pt x="164" y="174"/>
                  </a:lnTo>
                  <a:lnTo>
                    <a:pt x="166" y="162"/>
                  </a:lnTo>
                  <a:lnTo>
                    <a:pt x="166" y="162"/>
                  </a:lnTo>
                  <a:close/>
                  <a:moveTo>
                    <a:pt x="270" y="120"/>
                  </a:moveTo>
                  <a:lnTo>
                    <a:pt x="270" y="120"/>
                  </a:lnTo>
                  <a:lnTo>
                    <a:pt x="268" y="110"/>
                  </a:lnTo>
                  <a:lnTo>
                    <a:pt x="262" y="102"/>
                  </a:lnTo>
                  <a:lnTo>
                    <a:pt x="254" y="98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34" y="98"/>
                  </a:lnTo>
                  <a:lnTo>
                    <a:pt x="226" y="102"/>
                  </a:lnTo>
                  <a:lnTo>
                    <a:pt x="220" y="110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20" y="128"/>
                  </a:lnTo>
                  <a:lnTo>
                    <a:pt x="222" y="134"/>
                  </a:lnTo>
                  <a:lnTo>
                    <a:pt x="226" y="140"/>
                  </a:lnTo>
                  <a:lnTo>
                    <a:pt x="232" y="144"/>
                  </a:lnTo>
                  <a:lnTo>
                    <a:pt x="232" y="218"/>
                  </a:lnTo>
                  <a:lnTo>
                    <a:pt x="232" y="218"/>
                  </a:lnTo>
                  <a:lnTo>
                    <a:pt x="232" y="222"/>
                  </a:lnTo>
                  <a:lnTo>
                    <a:pt x="236" y="226"/>
                  </a:lnTo>
                  <a:lnTo>
                    <a:pt x="240" y="228"/>
                  </a:lnTo>
                  <a:lnTo>
                    <a:pt x="244" y="230"/>
                  </a:lnTo>
                  <a:lnTo>
                    <a:pt x="244" y="230"/>
                  </a:lnTo>
                  <a:lnTo>
                    <a:pt x="248" y="228"/>
                  </a:lnTo>
                  <a:lnTo>
                    <a:pt x="252" y="226"/>
                  </a:lnTo>
                  <a:lnTo>
                    <a:pt x="256" y="222"/>
                  </a:lnTo>
                  <a:lnTo>
                    <a:pt x="256" y="218"/>
                  </a:lnTo>
                  <a:lnTo>
                    <a:pt x="256" y="144"/>
                  </a:lnTo>
                  <a:lnTo>
                    <a:pt x="256" y="144"/>
                  </a:lnTo>
                  <a:lnTo>
                    <a:pt x="262" y="140"/>
                  </a:lnTo>
                  <a:lnTo>
                    <a:pt x="266" y="134"/>
                  </a:lnTo>
                  <a:lnTo>
                    <a:pt x="268" y="128"/>
                  </a:lnTo>
                  <a:lnTo>
                    <a:pt x="270" y="120"/>
                  </a:lnTo>
                  <a:lnTo>
                    <a:pt x="270" y="120"/>
                  </a:lnTo>
                  <a:close/>
                  <a:moveTo>
                    <a:pt x="142" y="168"/>
                  </a:moveTo>
                  <a:lnTo>
                    <a:pt x="150" y="168"/>
                  </a:lnTo>
                  <a:lnTo>
                    <a:pt x="150" y="168"/>
                  </a:lnTo>
                  <a:lnTo>
                    <a:pt x="146" y="180"/>
                  </a:lnTo>
                  <a:lnTo>
                    <a:pt x="140" y="192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0" y="184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2" y="190"/>
                  </a:lnTo>
                  <a:lnTo>
                    <a:pt x="124" y="196"/>
                  </a:lnTo>
                  <a:lnTo>
                    <a:pt x="130" y="202"/>
                  </a:lnTo>
                  <a:lnTo>
                    <a:pt x="130" y="202"/>
                  </a:lnTo>
                  <a:lnTo>
                    <a:pt x="120" y="208"/>
                  </a:lnTo>
                  <a:lnTo>
                    <a:pt x="108" y="212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6" y="198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8"/>
                  </a:lnTo>
                  <a:lnTo>
                    <a:pt x="92" y="204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80" y="208"/>
                  </a:lnTo>
                  <a:lnTo>
                    <a:pt x="70" y="202"/>
                  </a:lnTo>
                  <a:lnTo>
                    <a:pt x="76" y="196"/>
                  </a:lnTo>
                  <a:lnTo>
                    <a:pt x="76" y="196"/>
                  </a:lnTo>
                  <a:lnTo>
                    <a:pt x="78" y="190"/>
                  </a:lnTo>
                  <a:lnTo>
                    <a:pt x="76" y="186"/>
                  </a:lnTo>
                  <a:lnTo>
                    <a:pt x="76" y="186"/>
                  </a:lnTo>
                  <a:lnTo>
                    <a:pt x="70" y="184"/>
                  </a:lnTo>
                  <a:lnTo>
                    <a:pt x="66" y="186"/>
                  </a:lnTo>
                  <a:lnTo>
                    <a:pt x="60" y="192"/>
                  </a:lnTo>
                  <a:lnTo>
                    <a:pt x="60" y="192"/>
                  </a:lnTo>
                  <a:lnTo>
                    <a:pt x="54" y="180"/>
                  </a:lnTo>
                  <a:lnTo>
                    <a:pt x="50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64" y="166"/>
                  </a:lnTo>
                  <a:lnTo>
                    <a:pt x="66" y="162"/>
                  </a:lnTo>
                  <a:lnTo>
                    <a:pt x="66" y="162"/>
                  </a:lnTo>
                  <a:lnTo>
                    <a:pt x="64" y="156"/>
                  </a:lnTo>
                  <a:lnTo>
                    <a:pt x="58" y="154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4" y="142"/>
                  </a:lnTo>
                  <a:lnTo>
                    <a:pt x="60" y="132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76" y="138"/>
                  </a:lnTo>
                  <a:lnTo>
                    <a:pt x="76" y="138"/>
                  </a:lnTo>
                  <a:lnTo>
                    <a:pt x="78" y="132"/>
                  </a:lnTo>
                  <a:lnTo>
                    <a:pt x="76" y="126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80" y="114"/>
                  </a:lnTo>
                  <a:lnTo>
                    <a:pt x="92" y="112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4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6" y="124"/>
                  </a:lnTo>
                  <a:lnTo>
                    <a:pt x="108" y="120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20" y="114"/>
                  </a:lnTo>
                  <a:lnTo>
                    <a:pt x="130" y="120"/>
                  </a:lnTo>
                  <a:lnTo>
                    <a:pt x="124" y="126"/>
                  </a:lnTo>
                  <a:lnTo>
                    <a:pt x="124" y="126"/>
                  </a:lnTo>
                  <a:lnTo>
                    <a:pt x="122" y="132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30" y="140"/>
                  </a:lnTo>
                  <a:lnTo>
                    <a:pt x="130" y="140"/>
                  </a:lnTo>
                  <a:lnTo>
                    <a:pt x="134" y="138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6" y="142"/>
                  </a:lnTo>
                  <a:lnTo>
                    <a:pt x="150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36" y="156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6" y="166"/>
                  </a:lnTo>
                  <a:lnTo>
                    <a:pt x="142" y="168"/>
                  </a:lnTo>
                  <a:lnTo>
                    <a:pt x="142" y="168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18" y="154"/>
                  </a:lnTo>
                  <a:lnTo>
                    <a:pt x="114" y="146"/>
                  </a:lnTo>
                  <a:lnTo>
                    <a:pt x="108" y="142"/>
                  </a:lnTo>
                  <a:lnTo>
                    <a:pt x="100" y="140"/>
                  </a:lnTo>
                  <a:lnTo>
                    <a:pt x="100" y="140"/>
                  </a:lnTo>
                  <a:lnTo>
                    <a:pt x="92" y="142"/>
                  </a:lnTo>
                  <a:lnTo>
                    <a:pt x="86" y="146"/>
                  </a:lnTo>
                  <a:lnTo>
                    <a:pt x="82" y="154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2" y="170"/>
                  </a:lnTo>
                  <a:lnTo>
                    <a:pt x="86" y="176"/>
                  </a:lnTo>
                  <a:lnTo>
                    <a:pt x="92" y="180"/>
                  </a:lnTo>
                  <a:lnTo>
                    <a:pt x="100" y="182"/>
                  </a:lnTo>
                  <a:lnTo>
                    <a:pt x="100" y="182"/>
                  </a:lnTo>
                  <a:lnTo>
                    <a:pt x="108" y="180"/>
                  </a:lnTo>
                  <a:lnTo>
                    <a:pt x="114" y="176"/>
                  </a:lnTo>
                  <a:lnTo>
                    <a:pt x="118" y="170"/>
                  </a:lnTo>
                  <a:lnTo>
                    <a:pt x="120" y="162"/>
                  </a:lnTo>
                  <a:lnTo>
                    <a:pt x="120" y="16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C84E7CC2-1210-4477-A54C-52448B70FAD1}"/>
              </a:ext>
            </a:extLst>
          </p:cNvPr>
          <p:cNvSpPr/>
          <p:nvPr/>
        </p:nvSpPr>
        <p:spPr>
          <a:xfrm>
            <a:off x="4131274" y="4056729"/>
            <a:ext cx="28815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ормы финансового обеспечения размещены на сайте РФЦ </a:t>
            </a:r>
            <a:r>
              <a:rPr lang="en-US" sz="1100" b="1" u="sng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fc.kegoc.kz  </a:t>
            </a:r>
            <a:r>
              <a:rPr lang="ru-RU" sz="1100" b="1" u="sng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CF3BA92-216C-46F2-8560-4767BB70DA36}"/>
              </a:ext>
            </a:extLst>
          </p:cNvPr>
          <p:cNvSpPr txBox="1"/>
          <p:nvPr/>
        </p:nvSpPr>
        <p:spPr>
          <a:xfrm>
            <a:off x="181568" y="2484516"/>
            <a:ext cx="205328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Являются безотзывными</a:t>
            </a:r>
            <a:endParaRPr lang="en-GB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19C36C-02BB-483F-BBDE-2781455CF2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8966" y="3022588"/>
            <a:ext cx="640080" cy="640080"/>
          </a:xfrm>
          <a:prstGeom prst="rect">
            <a:avLst/>
          </a:prstGeom>
        </p:spPr>
      </p:pic>
      <p:sp>
        <p:nvSpPr>
          <p:cNvPr id="40" name="Subtitle 2">
            <a:extLst>
              <a:ext uri="{FF2B5EF4-FFF2-40B4-BE49-F238E27FC236}">
                <a16:creationId xmlns:a16="http://schemas.microsoft.com/office/drawing/2014/main" id="{21A27FE4-88BB-467E-BD3E-16178C398D00}"/>
              </a:ext>
            </a:extLst>
          </p:cNvPr>
          <p:cNvSpPr txBox="1">
            <a:spLocks/>
          </p:cNvSpPr>
          <p:nvPr/>
        </p:nvSpPr>
        <p:spPr>
          <a:xfrm>
            <a:off x="76586" y="4681304"/>
            <a:ext cx="6620795" cy="311181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kk-KZ" sz="9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соответствии с Правилами заявитель – юридическое лицо, планирующее участие в аукционных торгах</a:t>
            </a:r>
            <a:endParaRPr lang="ru-RU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ts val="985"/>
              </a:lnSpc>
            </a:pPr>
            <a:endParaRPr lang="en-US" sz="6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013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4531" y="937865"/>
            <a:ext cx="2005691" cy="374571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Банк-резидент РК</a:t>
            </a:r>
            <a:endParaRPr lang="ru-RU" sz="10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2277" y="198046"/>
            <a:ext cx="59946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хема взаимодействия инвесторов с банками</a:t>
            </a:r>
          </a:p>
        </p:txBody>
      </p:sp>
      <p:sp>
        <p:nvSpPr>
          <p:cNvPr id="5" name="Rectangle: Rounded Corners 4"/>
          <p:cNvSpPr/>
          <p:nvPr/>
        </p:nvSpPr>
        <p:spPr>
          <a:xfrm>
            <a:off x="634485" y="4198577"/>
            <a:ext cx="5766337" cy="25961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визование банковской гарантии</a:t>
            </a:r>
            <a:r>
              <a:rPr lang="en-US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АО «</a:t>
            </a:r>
            <a:r>
              <a:rPr lang="en-US" sz="1200" dirty="0" err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teBank</a:t>
            </a:r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 или АО «Банк </a:t>
            </a:r>
            <a:r>
              <a:rPr lang="ru-RU" sz="1200" dirty="0" err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ЦентрКредит</a:t>
            </a:r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</a:p>
        </p:txBody>
      </p:sp>
      <p:sp>
        <p:nvSpPr>
          <p:cNvPr id="6" name="Прямоугольник 12"/>
          <p:cNvSpPr/>
          <p:nvPr/>
        </p:nvSpPr>
        <p:spPr>
          <a:xfrm>
            <a:off x="596258" y="2818410"/>
            <a:ext cx="5788758" cy="306467"/>
          </a:xfrm>
          <a:prstGeom prst="roundRect">
            <a:avLst/>
          </a:prstGeom>
          <a:solidFill>
            <a:srgbClr val="58B6C0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ыпуск банковской гарантии или резервного аккредитива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B6247C3-C26A-4776-B587-67ECCF5FA676}"/>
              </a:ext>
            </a:extLst>
          </p:cNvPr>
          <p:cNvCxnSpPr>
            <a:cxnSpLocks/>
          </p:cNvCxnSpPr>
          <p:nvPr/>
        </p:nvCxnSpPr>
        <p:spPr>
          <a:xfrm>
            <a:off x="1569351" y="3161406"/>
            <a:ext cx="0" cy="9914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20">
            <a:extLst>
              <a:ext uri="{FF2B5EF4-FFF2-40B4-BE49-F238E27FC236}">
                <a16:creationId xmlns:a16="http://schemas.microsoft.com/office/drawing/2014/main" id="{086D6DB0-5D83-488E-8C00-C0AAC5F413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735002"/>
              </p:ext>
            </p:extLst>
          </p:nvPr>
        </p:nvGraphicFramePr>
        <p:xfrm>
          <a:off x="981697" y="1758373"/>
          <a:ext cx="1177981" cy="88369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7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209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710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-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772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3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7" name="TextBox 116">
            <a:extLst>
              <a:ext uri="{FF2B5EF4-FFF2-40B4-BE49-F238E27FC236}">
                <a16:creationId xmlns:a16="http://schemas.microsoft.com/office/drawing/2014/main" id="{7D8411FF-CE9C-427C-B82E-4B6755BA3DE4}"/>
              </a:ext>
            </a:extLst>
          </p:cNvPr>
          <p:cNvSpPr txBox="1"/>
          <p:nvPr/>
        </p:nvSpPr>
        <p:spPr>
          <a:xfrm>
            <a:off x="650292" y="4623000"/>
            <a:ext cx="577048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либо рейтинг родительской организации (которой принадлежит более 50% акций банка-резидента РК) не ниже уровня "BВB" по Standard&amp;Poor’s или "ВВВ" по Fitch или "Ваа2" по Moody’sInvestorsService</a:t>
            </a:r>
            <a:endParaRPr lang="en-US" sz="1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54" name="Таблица 20">
            <a:extLst>
              <a:ext uri="{FF2B5EF4-FFF2-40B4-BE49-F238E27FC236}">
                <a16:creationId xmlns:a16="http://schemas.microsoft.com/office/drawing/2014/main" id="{CCF753A7-9DA5-45A9-B516-337A8D1B6D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508653"/>
              </p:ext>
            </p:extLst>
          </p:nvPr>
        </p:nvGraphicFramePr>
        <p:xfrm>
          <a:off x="4164911" y="1779286"/>
          <a:ext cx="916849" cy="88369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168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209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710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772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a2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AFFBC936-25DE-4F42-8CA0-B1DAB2F8B019}"/>
              </a:ext>
            </a:extLst>
          </p:cNvPr>
          <p:cNvCxnSpPr>
            <a:cxnSpLocks/>
          </p:cNvCxnSpPr>
          <p:nvPr/>
        </p:nvCxnSpPr>
        <p:spPr>
          <a:xfrm>
            <a:off x="1570687" y="2642064"/>
            <a:ext cx="0" cy="1491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00B2EEEF-CB27-46FD-8E99-247B4812C372}"/>
              </a:ext>
            </a:extLst>
          </p:cNvPr>
          <p:cNvCxnSpPr>
            <a:cxnSpLocks/>
          </p:cNvCxnSpPr>
          <p:nvPr/>
        </p:nvCxnSpPr>
        <p:spPr>
          <a:xfrm>
            <a:off x="4632725" y="2648925"/>
            <a:ext cx="0" cy="1491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1" name="Picture 160">
            <a:extLst>
              <a:ext uri="{FF2B5EF4-FFF2-40B4-BE49-F238E27FC236}">
                <a16:creationId xmlns:a16="http://schemas.microsoft.com/office/drawing/2014/main" id="{B057A1F3-7DAD-4925-B00C-5D2AFBFBBF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501" y="1659930"/>
            <a:ext cx="916849" cy="364228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6DE98787-E8C9-481D-AC28-3EC91AC3AC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2690" y="2098776"/>
            <a:ext cx="887051" cy="185726"/>
          </a:xfrm>
          <a:prstGeom prst="rect">
            <a:avLst/>
          </a:prstGeom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id="{205B08D0-E107-4BFE-988C-0B579FF34E0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8111" y="2395443"/>
            <a:ext cx="727627" cy="203059"/>
          </a:xfrm>
          <a:prstGeom prst="rect">
            <a:avLst/>
          </a:prstGeom>
        </p:spPr>
      </p:pic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EBD16D0-B00B-4096-9742-7C4CC811CFA7}"/>
              </a:ext>
            </a:extLst>
          </p:cNvPr>
          <p:cNvCxnSpPr>
            <a:cxnSpLocks/>
          </p:cNvCxnSpPr>
          <p:nvPr/>
        </p:nvCxnSpPr>
        <p:spPr>
          <a:xfrm>
            <a:off x="650292" y="2048345"/>
            <a:ext cx="5734724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84E37693-ED47-417F-B764-86A74035D1CD}"/>
              </a:ext>
            </a:extLst>
          </p:cNvPr>
          <p:cNvCxnSpPr>
            <a:cxnSpLocks/>
          </p:cNvCxnSpPr>
          <p:nvPr/>
        </p:nvCxnSpPr>
        <p:spPr>
          <a:xfrm>
            <a:off x="650292" y="2336839"/>
            <a:ext cx="575299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638787D-7018-4525-9607-F6132EBEC435}"/>
              </a:ext>
            </a:extLst>
          </p:cNvPr>
          <p:cNvSpPr txBox="1"/>
          <p:nvPr/>
        </p:nvSpPr>
        <p:spPr>
          <a:xfrm>
            <a:off x="4212141" y="933213"/>
            <a:ext cx="2005692" cy="374571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Банк-нерезидент РК</a:t>
            </a:r>
            <a:endParaRPr lang="ru-RU" sz="10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C8872F-9C50-43BE-BC70-124F7784FEC5}"/>
              </a:ext>
            </a:extLst>
          </p:cNvPr>
          <p:cNvSpPr txBox="1"/>
          <p:nvPr/>
        </p:nvSpPr>
        <p:spPr>
          <a:xfrm>
            <a:off x="949542" y="1357870"/>
            <a:ext cx="1267734" cy="272415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ейтинг 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е ниже: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FAAB97-3CCD-4A1B-AEFF-79810D83D28B}"/>
              </a:ext>
            </a:extLst>
          </p:cNvPr>
          <p:cNvSpPr txBox="1"/>
          <p:nvPr/>
        </p:nvSpPr>
        <p:spPr>
          <a:xfrm>
            <a:off x="3963820" y="1354585"/>
            <a:ext cx="1197090" cy="272415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ейтинг 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е ниже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A351CFC-DAA0-4650-B390-1D88FB3B39E4}"/>
              </a:ext>
            </a:extLst>
          </p:cNvPr>
          <p:cNvSpPr txBox="1"/>
          <p:nvPr/>
        </p:nvSpPr>
        <p:spPr>
          <a:xfrm>
            <a:off x="5183779" y="1363957"/>
            <a:ext cx="1197090" cy="272415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ейтинг 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иже:</a:t>
            </a:r>
          </a:p>
        </p:txBody>
      </p:sp>
      <p:graphicFrame>
        <p:nvGraphicFramePr>
          <p:cNvPr id="25" name="Таблица 20">
            <a:extLst>
              <a:ext uri="{FF2B5EF4-FFF2-40B4-BE49-F238E27FC236}">
                <a16:creationId xmlns:a16="http://schemas.microsoft.com/office/drawing/2014/main" id="{BFC9222B-0BD0-49FE-B80D-7C054AFAC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2960023"/>
              </p:ext>
            </p:extLst>
          </p:nvPr>
        </p:nvGraphicFramePr>
        <p:xfrm>
          <a:off x="5323899" y="1752432"/>
          <a:ext cx="916849" cy="88369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168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209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710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772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a2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44895D5-B7DC-46A2-B84D-8A4655E8C6A1}"/>
              </a:ext>
            </a:extLst>
          </p:cNvPr>
          <p:cNvCxnSpPr>
            <a:cxnSpLocks/>
          </p:cNvCxnSpPr>
          <p:nvPr/>
        </p:nvCxnSpPr>
        <p:spPr>
          <a:xfrm>
            <a:off x="5792348" y="2645112"/>
            <a:ext cx="0" cy="1491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ECD3A24-DDD6-4E00-8376-A0D6A8F07578}"/>
              </a:ext>
            </a:extLst>
          </p:cNvPr>
          <p:cNvCxnSpPr>
            <a:cxnSpLocks/>
          </p:cNvCxnSpPr>
          <p:nvPr/>
        </p:nvCxnSpPr>
        <p:spPr>
          <a:xfrm>
            <a:off x="5810527" y="3150780"/>
            <a:ext cx="0" cy="16155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D7B9A0E-B37A-41A1-9A1D-C0B4C7B6353A}"/>
              </a:ext>
            </a:extLst>
          </p:cNvPr>
          <p:cNvSpPr txBox="1"/>
          <p:nvPr/>
        </p:nvSpPr>
        <p:spPr>
          <a:xfrm>
            <a:off x="4957896" y="3312333"/>
            <a:ext cx="1445394" cy="715089"/>
          </a:xfrm>
          <a:prstGeom prst="round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ыпуск контр гарантии банком-резидентом 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D94F093-2871-43E3-A4D1-0CB377045ACA}"/>
              </a:ext>
            </a:extLst>
          </p:cNvPr>
          <p:cNvCxnSpPr>
            <a:cxnSpLocks/>
          </p:cNvCxnSpPr>
          <p:nvPr/>
        </p:nvCxnSpPr>
        <p:spPr>
          <a:xfrm>
            <a:off x="5832180" y="4037024"/>
            <a:ext cx="0" cy="16155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0C56859-DE46-4FF8-BA9F-25360E96885C}"/>
              </a:ext>
            </a:extLst>
          </p:cNvPr>
          <p:cNvCxnSpPr>
            <a:cxnSpLocks/>
          </p:cNvCxnSpPr>
          <p:nvPr/>
        </p:nvCxnSpPr>
        <p:spPr>
          <a:xfrm>
            <a:off x="4632725" y="3161407"/>
            <a:ext cx="0" cy="9914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175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C2E8767-CD9B-CA4F-8F99-D56DB2573900}"/>
              </a:ext>
            </a:extLst>
          </p:cNvPr>
          <p:cNvSpPr/>
          <p:nvPr/>
        </p:nvSpPr>
        <p:spPr>
          <a:xfrm>
            <a:off x="771726" y="2077055"/>
            <a:ext cx="2419820" cy="227940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1D1C010-A5B4-3A45-BB9C-080D594B17C1}"/>
              </a:ext>
            </a:extLst>
          </p:cNvPr>
          <p:cNvSpPr/>
          <p:nvPr/>
        </p:nvSpPr>
        <p:spPr>
          <a:xfrm>
            <a:off x="3666454" y="2077055"/>
            <a:ext cx="2419820" cy="227940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5A2A9DA-959B-284B-B934-86369BDE1279}"/>
              </a:ext>
            </a:extLst>
          </p:cNvPr>
          <p:cNvSpPr>
            <a:spLocks noChangeAspect="1"/>
          </p:cNvSpPr>
          <p:nvPr/>
        </p:nvSpPr>
        <p:spPr>
          <a:xfrm>
            <a:off x="1583783" y="1548473"/>
            <a:ext cx="795705" cy="79570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B1FB8CC-EE8B-4743-ACE1-82909D7B0070}"/>
              </a:ext>
            </a:extLst>
          </p:cNvPr>
          <p:cNvGrpSpPr/>
          <p:nvPr/>
        </p:nvGrpSpPr>
        <p:grpSpPr>
          <a:xfrm>
            <a:off x="4478511" y="1548473"/>
            <a:ext cx="795705" cy="795705"/>
            <a:chOff x="15919449" y="3220631"/>
            <a:chExt cx="2828436" cy="282843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D61033D-8AAB-1347-95C5-11337AEB0A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19449" y="3220631"/>
              <a:ext cx="2828436" cy="282843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0E996990-6837-4D49-A5A3-FDFAB4E816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88804" y="4090604"/>
              <a:ext cx="1089725" cy="1088489"/>
            </a:xfrm>
            <a:custGeom>
              <a:avLst/>
              <a:gdLst>
                <a:gd name="connsiteX0" fmla="*/ 92404 w 672526"/>
                <a:gd name="connsiteY0" fmla="*/ 0 h 671763"/>
                <a:gd name="connsiteX1" fmla="*/ 157940 w 672526"/>
                <a:gd name="connsiteY1" fmla="*/ 26977 h 671763"/>
                <a:gd name="connsiteX2" fmla="*/ 336263 w 672526"/>
                <a:gd name="connsiteY2" fmla="*/ 205079 h 671763"/>
                <a:gd name="connsiteX3" fmla="*/ 514585 w 672526"/>
                <a:gd name="connsiteY3" fmla="*/ 26977 h 671763"/>
                <a:gd name="connsiteX4" fmla="*/ 645526 w 672526"/>
                <a:gd name="connsiteY4" fmla="*/ 26977 h 671763"/>
                <a:gd name="connsiteX5" fmla="*/ 645526 w 672526"/>
                <a:gd name="connsiteY5" fmla="*/ 157803 h 671763"/>
                <a:gd name="connsiteX6" fmla="*/ 467227 w 672526"/>
                <a:gd name="connsiteY6" fmla="*/ 335882 h 671763"/>
                <a:gd name="connsiteX7" fmla="*/ 645526 w 672526"/>
                <a:gd name="connsiteY7" fmla="*/ 513961 h 671763"/>
                <a:gd name="connsiteX8" fmla="*/ 645526 w 672526"/>
                <a:gd name="connsiteY8" fmla="*/ 644787 h 671763"/>
                <a:gd name="connsiteX9" fmla="*/ 514585 w 672526"/>
                <a:gd name="connsiteY9" fmla="*/ 644787 h 671763"/>
                <a:gd name="connsiteX10" fmla="*/ 336263 w 672526"/>
                <a:gd name="connsiteY10" fmla="*/ 466685 h 671763"/>
                <a:gd name="connsiteX11" fmla="*/ 157940 w 672526"/>
                <a:gd name="connsiteY11" fmla="*/ 644787 h 671763"/>
                <a:gd name="connsiteX12" fmla="*/ 27000 w 672526"/>
                <a:gd name="connsiteY12" fmla="*/ 644787 h 671763"/>
                <a:gd name="connsiteX13" fmla="*/ 27000 w 672526"/>
                <a:gd name="connsiteY13" fmla="*/ 513961 h 671763"/>
                <a:gd name="connsiteX14" fmla="*/ 205299 w 672526"/>
                <a:gd name="connsiteY14" fmla="*/ 335882 h 671763"/>
                <a:gd name="connsiteX15" fmla="*/ 27000 w 672526"/>
                <a:gd name="connsiteY15" fmla="*/ 157803 h 671763"/>
                <a:gd name="connsiteX16" fmla="*/ 27000 w 672526"/>
                <a:gd name="connsiteY16" fmla="*/ 26977 h 671763"/>
                <a:gd name="connsiteX17" fmla="*/ 92404 w 672526"/>
                <a:gd name="connsiteY17" fmla="*/ 0 h 671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72526" h="671763">
                  <a:moveTo>
                    <a:pt x="92404" y="0"/>
                  </a:moveTo>
                  <a:cubicBezTo>
                    <a:pt x="116117" y="0"/>
                    <a:pt x="139852" y="8993"/>
                    <a:pt x="157940" y="26977"/>
                  </a:cubicBezTo>
                  <a:lnTo>
                    <a:pt x="336263" y="205079"/>
                  </a:lnTo>
                  <a:lnTo>
                    <a:pt x="514585" y="26977"/>
                  </a:lnTo>
                  <a:cubicBezTo>
                    <a:pt x="550585" y="-8992"/>
                    <a:pt x="609526" y="-8992"/>
                    <a:pt x="645526" y="26977"/>
                  </a:cubicBezTo>
                  <a:cubicBezTo>
                    <a:pt x="681526" y="62945"/>
                    <a:pt x="681526" y="121658"/>
                    <a:pt x="645526" y="157803"/>
                  </a:cubicBezTo>
                  <a:lnTo>
                    <a:pt x="467227" y="335882"/>
                  </a:lnTo>
                  <a:lnTo>
                    <a:pt x="645526" y="513961"/>
                  </a:lnTo>
                  <a:cubicBezTo>
                    <a:pt x="681526" y="549930"/>
                    <a:pt x="681526" y="608819"/>
                    <a:pt x="645526" y="644787"/>
                  </a:cubicBezTo>
                  <a:cubicBezTo>
                    <a:pt x="609526" y="680756"/>
                    <a:pt x="550585" y="680756"/>
                    <a:pt x="514585" y="644787"/>
                  </a:cubicBezTo>
                  <a:lnTo>
                    <a:pt x="336263" y="466685"/>
                  </a:lnTo>
                  <a:lnTo>
                    <a:pt x="157940" y="644787"/>
                  </a:lnTo>
                  <a:cubicBezTo>
                    <a:pt x="121764" y="680756"/>
                    <a:pt x="63000" y="680756"/>
                    <a:pt x="27000" y="644787"/>
                  </a:cubicBezTo>
                  <a:cubicBezTo>
                    <a:pt x="-9000" y="608819"/>
                    <a:pt x="-9000" y="549930"/>
                    <a:pt x="27000" y="513961"/>
                  </a:cubicBezTo>
                  <a:lnTo>
                    <a:pt x="205299" y="335882"/>
                  </a:lnTo>
                  <a:lnTo>
                    <a:pt x="27000" y="157803"/>
                  </a:lnTo>
                  <a:cubicBezTo>
                    <a:pt x="-9000" y="121658"/>
                    <a:pt x="-9000" y="62945"/>
                    <a:pt x="27000" y="26977"/>
                  </a:cubicBezTo>
                  <a:cubicBezTo>
                    <a:pt x="45000" y="8993"/>
                    <a:pt x="68691" y="0"/>
                    <a:pt x="92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9" name="Freeform 1">
            <a:extLst>
              <a:ext uri="{FF2B5EF4-FFF2-40B4-BE49-F238E27FC236}">
                <a16:creationId xmlns:a16="http://schemas.microsoft.com/office/drawing/2014/main" id="{D15FA5E5-103C-D849-9389-0789470EC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0494" y="1780923"/>
            <a:ext cx="422283" cy="330806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6136F57-CEBE-CA42-A42A-E7C3C83CC0E9}"/>
              </a:ext>
            </a:extLst>
          </p:cNvPr>
          <p:cNvGrpSpPr/>
          <p:nvPr/>
        </p:nvGrpSpPr>
        <p:grpSpPr>
          <a:xfrm>
            <a:off x="866209" y="3216759"/>
            <a:ext cx="326973" cy="326973"/>
            <a:chOff x="5629764" y="6713334"/>
            <a:chExt cx="2828436" cy="2828436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28A67BD-B443-754B-B998-5E4B037C38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9764" y="6713334"/>
              <a:ext cx="2828436" cy="282843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" name="Freeform 1">
              <a:extLst>
                <a:ext uri="{FF2B5EF4-FFF2-40B4-BE49-F238E27FC236}">
                  <a16:creationId xmlns:a16="http://schemas.microsoft.com/office/drawing/2014/main" id="{C4C5503E-37BD-1C4F-8BC7-87F215BB9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3452" y="7539605"/>
              <a:ext cx="1501060" cy="1175892"/>
            </a:xfrm>
            <a:custGeom>
              <a:avLst/>
              <a:gdLst>
                <a:gd name="T0" fmla="*/ 1845 w 5250"/>
                <a:gd name="T1" fmla="*/ 4112 h 4113"/>
                <a:gd name="T2" fmla="*/ 205 w 5250"/>
                <a:gd name="T3" fmla="*/ 2473 h 4113"/>
                <a:gd name="T4" fmla="*/ 205 w 5250"/>
                <a:gd name="T5" fmla="*/ 2473 h 4113"/>
                <a:gd name="T6" fmla="*/ 205 w 5250"/>
                <a:gd name="T7" fmla="*/ 1730 h 4113"/>
                <a:gd name="T8" fmla="*/ 205 w 5250"/>
                <a:gd name="T9" fmla="*/ 1730 h 4113"/>
                <a:gd name="T10" fmla="*/ 948 w 5250"/>
                <a:gd name="T11" fmla="*/ 1730 h 4113"/>
                <a:gd name="T12" fmla="*/ 1849 w 5250"/>
                <a:gd name="T13" fmla="*/ 2630 h 4113"/>
                <a:gd name="T14" fmla="*/ 4302 w 5250"/>
                <a:gd name="T15" fmla="*/ 205 h 4113"/>
                <a:gd name="T16" fmla="*/ 4302 w 5250"/>
                <a:gd name="T17" fmla="*/ 205 h 4113"/>
                <a:gd name="T18" fmla="*/ 5045 w 5250"/>
                <a:gd name="T19" fmla="*/ 209 h 4113"/>
                <a:gd name="T20" fmla="*/ 5045 w 5250"/>
                <a:gd name="T21" fmla="*/ 209 h 4113"/>
                <a:gd name="T22" fmla="*/ 5041 w 5250"/>
                <a:gd name="T23" fmla="*/ 952 h 4113"/>
                <a:gd name="T24" fmla="*/ 1845 w 5250"/>
                <a:gd name="T25" fmla="*/ 4112 h 4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50" h="4113">
                  <a:moveTo>
                    <a:pt x="1845" y="4112"/>
                  </a:moveTo>
                  <a:lnTo>
                    <a:pt x="205" y="2473"/>
                  </a:lnTo>
                  <a:lnTo>
                    <a:pt x="205" y="2473"/>
                  </a:lnTo>
                  <a:cubicBezTo>
                    <a:pt x="0" y="2267"/>
                    <a:pt x="0" y="1935"/>
                    <a:pt x="205" y="1730"/>
                  </a:cubicBezTo>
                  <a:lnTo>
                    <a:pt x="205" y="1730"/>
                  </a:lnTo>
                  <a:cubicBezTo>
                    <a:pt x="410" y="1524"/>
                    <a:pt x="743" y="1524"/>
                    <a:pt x="948" y="1730"/>
                  </a:cubicBezTo>
                  <a:lnTo>
                    <a:pt x="1849" y="2630"/>
                  </a:lnTo>
                  <a:lnTo>
                    <a:pt x="4302" y="205"/>
                  </a:lnTo>
                  <a:lnTo>
                    <a:pt x="4302" y="205"/>
                  </a:lnTo>
                  <a:cubicBezTo>
                    <a:pt x="4508" y="0"/>
                    <a:pt x="4841" y="2"/>
                    <a:pt x="5045" y="209"/>
                  </a:cubicBezTo>
                  <a:lnTo>
                    <a:pt x="5045" y="209"/>
                  </a:lnTo>
                  <a:cubicBezTo>
                    <a:pt x="5249" y="415"/>
                    <a:pt x="5247" y="748"/>
                    <a:pt x="5041" y="952"/>
                  </a:cubicBezTo>
                  <a:lnTo>
                    <a:pt x="1845" y="4112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165995A-A821-3244-A4E1-670A353DD96A}"/>
              </a:ext>
            </a:extLst>
          </p:cNvPr>
          <p:cNvGrpSpPr/>
          <p:nvPr/>
        </p:nvGrpSpPr>
        <p:grpSpPr>
          <a:xfrm>
            <a:off x="877331" y="2471278"/>
            <a:ext cx="326973" cy="326973"/>
            <a:chOff x="5629764" y="6713334"/>
            <a:chExt cx="2828436" cy="282843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A474388-BDCF-4C4C-9674-51074D87BA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9764" y="6713334"/>
              <a:ext cx="2828436" cy="282843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" name="Freeform 1">
              <a:extLst>
                <a:ext uri="{FF2B5EF4-FFF2-40B4-BE49-F238E27FC236}">
                  <a16:creationId xmlns:a16="http://schemas.microsoft.com/office/drawing/2014/main" id="{72961AE1-9628-5D47-AD07-D6E6220517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3452" y="7539605"/>
              <a:ext cx="1501060" cy="1175892"/>
            </a:xfrm>
            <a:custGeom>
              <a:avLst/>
              <a:gdLst>
                <a:gd name="T0" fmla="*/ 1845 w 5250"/>
                <a:gd name="T1" fmla="*/ 4112 h 4113"/>
                <a:gd name="T2" fmla="*/ 205 w 5250"/>
                <a:gd name="T3" fmla="*/ 2473 h 4113"/>
                <a:gd name="T4" fmla="*/ 205 w 5250"/>
                <a:gd name="T5" fmla="*/ 2473 h 4113"/>
                <a:gd name="T6" fmla="*/ 205 w 5250"/>
                <a:gd name="T7" fmla="*/ 1730 h 4113"/>
                <a:gd name="T8" fmla="*/ 205 w 5250"/>
                <a:gd name="T9" fmla="*/ 1730 h 4113"/>
                <a:gd name="T10" fmla="*/ 948 w 5250"/>
                <a:gd name="T11" fmla="*/ 1730 h 4113"/>
                <a:gd name="T12" fmla="*/ 1849 w 5250"/>
                <a:gd name="T13" fmla="*/ 2630 h 4113"/>
                <a:gd name="T14" fmla="*/ 4302 w 5250"/>
                <a:gd name="T15" fmla="*/ 205 h 4113"/>
                <a:gd name="T16" fmla="*/ 4302 w 5250"/>
                <a:gd name="T17" fmla="*/ 205 h 4113"/>
                <a:gd name="T18" fmla="*/ 5045 w 5250"/>
                <a:gd name="T19" fmla="*/ 209 h 4113"/>
                <a:gd name="T20" fmla="*/ 5045 w 5250"/>
                <a:gd name="T21" fmla="*/ 209 h 4113"/>
                <a:gd name="T22" fmla="*/ 5041 w 5250"/>
                <a:gd name="T23" fmla="*/ 952 h 4113"/>
                <a:gd name="T24" fmla="*/ 1845 w 5250"/>
                <a:gd name="T25" fmla="*/ 4112 h 4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50" h="4113">
                  <a:moveTo>
                    <a:pt x="1845" y="4112"/>
                  </a:moveTo>
                  <a:lnTo>
                    <a:pt x="205" y="2473"/>
                  </a:lnTo>
                  <a:lnTo>
                    <a:pt x="205" y="2473"/>
                  </a:lnTo>
                  <a:cubicBezTo>
                    <a:pt x="0" y="2267"/>
                    <a:pt x="0" y="1935"/>
                    <a:pt x="205" y="1730"/>
                  </a:cubicBezTo>
                  <a:lnTo>
                    <a:pt x="205" y="1730"/>
                  </a:lnTo>
                  <a:cubicBezTo>
                    <a:pt x="410" y="1524"/>
                    <a:pt x="743" y="1524"/>
                    <a:pt x="948" y="1730"/>
                  </a:cubicBezTo>
                  <a:lnTo>
                    <a:pt x="1849" y="2630"/>
                  </a:lnTo>
                  <a:lnTo>
                    <a:pt x="4302" y="205"/>
                  </a:lnTo>
                  <a:lnTo>
                    <a:pt x="4302" y="205"/>
                  </a:lnTo>
                  <a:cubicBezTo>
                    <a:pt x="4508" y="0"/>
                    <a:pt x="4841" y="2"/>
                    <a:pt x="5045" y="209"/>
                  </a:cubicBezTo>
                  <a:lnTo>
                    <a:pt x="5045" y="209"/>
                  </a:lnTo>
                  <a:cubicBezTo>
                    <a:pt x="5249" y="415"/>
                    <a:pt x="5247" y="748"/>
                    <a:pt x="5041" y="952"/>
                  </a:cubicBezTo>
                  <a:lnTo>
                    <a:pt x="1845" y="4112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E2BA047-A567-8C48-8A71-AB408E303CA6}"/>
              </a:ext>
            </a:extLst>
          </p:cNvPr>
          <p:cNvGrpSpPr/>
          <p:nvPr/>
        </p:nvGrpSpPr>
        <p:grpSpPr>
          <a:xfrm>
            <a:off x="3797035" y="2519412"/>
            <a:ext cx="326973" cy="326973"/>
            <a:chOff x="15919449" y="3220631"/>
            <a:chExt cx="2828436" cy="2828436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3A410C6-2048-B44D-86E6-61D729702E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19449" y="3220631"/>
              <a:ext cx="2828436" cy="282843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C5AFCF8D-2A17-7446-AD70-591A3EEF1C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88804" y="4090604"/>
              <a:ext cx="1089725" cy="1088489"/>
            </a:xfrm>
            <a:custGeom>
              <a:avLst/>
              <a:gdLst>
                <a:gd name="connsiteX0" fmla="*/ 92404 w 672526"/>
                <a:gd name="connsiteY0" fmla="*/ 0 h 671763"/>
                <a:gd name="connsiteX1" fmla="*/ 157940 w 672526"/>
                <a:gd name="connsiteY1" fmla="*/ 26977 h 671763"/>
                <a:gd name="connsiteX2" fmla="*/ 336263 w 672526"/>
                <a:gd name="connsiteY2" fmla="*/ 205079 h 671763"/>
                <a:gd name="connsiteX3" fmla="*/ 514585 w 672526"/>
                <a:gd name="connsiteY3" fmla="*/ 26977 h 671763"/>
                <a:gd name="connsiteX4" fmla="*/ 645526 w 672526"/>
                <a:gd name="connsiteY4" fmla="*/ 26977 h 671763"/>
                <a:gd name="connsiteX5" fmla="*/ 645526 w 672526"/>
                <a:gd name="connsiteY5" fmla="*/ 157803 h 671763"/>
                <a:gd name="connsiteX6" fmla="*/ 467227 w 672526"/>
                <a:gd name="connsiteY6" fmla="*/ 335882 h 671763"/>
                <a:gd name="connsiteX7" fmla="*/ 645526 w 672526"/>
                <a:gd name="connsiteY7" fmla="*/ 513961 h 671763"/>
                <a:gd name="connsiteX8" fmla="*/ 645526 w 672526"/>
                <a:gd name="connsiteY8" fmla="*/ 644787 h 671763"/>
                <a:gd name="connsiteX9" fmla="*/ 514585 w 672526"/>
                <a:gd name="connsiteY9" fmla="*/ 644787 h 671763"/>
                <a:gd name="connsiteX10" fmla="*/ 336263 w 672526"/>
                <a:gd name="connsiteY10" fmla="*/ 466685 h 671763"/>
                <a:gd name="connsiteX11" fmla="*/ 157940 w 672526"/>
                <a:gd name="connsiteY11" fmla="*/ 644787 h 671763"/>
                <a:gd name="connsiteX12" fmla="*/ 27000 w 672526"/>
                <a:gd name="connsiteY12" fmla="*/ 644787 h 671763"/>
                <a:gd name="connsiteX13" fmla="*/ 27000 w 672526"/>
                <a:gd name="connsiteY13" fmla="*/ 513961 h 671763"/>
                <a:gd name="connsiteX14" fmla="*/ 205299 w 672526"/>
                <a:gd name="connsiteY14" fmla="*/ 335882 h 671763"/>
                <a:gd name="connsiteX15" fmla="*/ 27000 w 672526"/>
                <a:gd name="connsiteY15" fmla="*/ 157803 h 671763"/>
                <a:gd name="connsiteX16" fmla="*/ 27000 w 672526"/>
                <a:gd name="connsiteY16" fmla="*/ 26977 h 671763"/>
                <a:gd name="connsiteX17" fmla="*/ 92404 w 672526"/>
                <a:gd name="connsiteY17" fmla="*/ 0 h 671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72526" h="671763">
                  <a:moveTo>
                    <a:pt x="92404" y="0"/>
                  </a:moveTo>
                  <a:cubicBezTo>
                    <a:pt x="116117" y="0"/>
                    <a:pt x="139852" y="8993"/>
                    <a:pt x="157940" y="26977"/>
                  </a:cubicBezTo>
                  <a:lnTo>
                    <a:pt x="336263" y="205079"/>
                  </a:lnTo>
                  <a:lnTo>
                    <a:pt x="514585" y="26977"/>
                  </a:lnTo>
                  <a:cubicBezTo>
                    <a:pt x="550585" y="-8992"/>
                    <a:pt x="609526" y="-8992"/>
                    <a:pt x="645526" y="26977"/>
                  </a:cubicBezTo>
                  <a:cubicBezTo>
                    <a:pt x="681526" y="62945"/>
                    <a:pt x="681526" y="121658"/>
                    <a:pt x="645526" y="157803"/>
                  </a:cubicBezTo>
                  <a:lnTo>
                    <a:pt x="467227" y="335882"/>
                  </a:lnTo>
                  <a:lnTo>
                    <a:pt x="645526" y="513961"/>
                  </a:lnTo>
                  <a:cubicBezTo>
                    <a:pt x="681526" y="549930"/>
                    <a:pt x="681526" y="608819"/>
                    <a:pt x="645526" y="644787"/>
                  </a:cubicBezTo>
                  <a:cubicBezTo>
                    <a:pt x="609526" y="680756"/>
                    <a:pt x="550585" y="680756"/>
                    <a:pt x="514585" y="644787"/>
                  </a:cubicBezTo>
                  <a:lnTo>
                    <a:pt x="336263" y="466685"/>
                  </a:lnTo>
                  <a:lnTo>
                    <a:pt x="157940" y="644787"/>
                  </a:lnTo>
                  <a:cubicBezTo>
                    <a:pt x="121764" y="680756"/>
                    <a:pt x="63000" y="680756"/>
                    <a:pt x="27000" y="644787"/>
                  </a:cubicBezTo>
                  <a:cubicBezTo>
                    <a:pt x="-9000" y="608819"/>
                    <a:pt x="-9000" y="549930"/>
                    <a:pt x="27000" y="513961"/>
                  </a:cubicBezTo>
                  <a:lnTo>
                    <a:pt x="205299" y="335882"/>
                  </a:lnTo>
                  <a:lnTo>
                    <a:pt x="27000" y="157803"/>
                  </a:lnTo>
                  <a:cubicBezTo>
                    <a:pt x="-9000" y="121658"/>
                    <a:pt x="-9000" y="62945"/>
                    <a:pt x="27000" y="26977"/>
                  </a:cubicBezTo>
                  <a:cubicBezTo>
                    <a:pt x="45000" y="8993"/>
                    <a:pt x="68691" y="0"/>
                    <a:pt x="92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29" name="Subtitle 2">
            <a:extLst>
              <a:ext uri="{FF2B5EF4-FFF2-40B4-BE49-F238E27FC236}">
                <a16:creationId xmlns:a16="http://schemas.microsoft.com/office/drawing/2014/main" id="{AA9804C6-A1D8-8747-AB95-1FD35EA6EF47}"/>
              </a:ext>
            </a:extLst>
          </p:cNvPr>
          <p:cNvSpPr txBox="1">
            <a:spLocks/>
          </p:cNvSpPr>
          <p:nvPr/>
        </p:nvSpPr>
        <p:spPr>
          <a:xfrm>
            <a:off x="1284634" y="2447659"/>
            <a:ext cx="1905114" cy="418711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частник аукционных торгов не стал победителем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735168F-8BC1-EE45-A03C-3A209BE79EDD}"/>
              </a:ext>
            </a:extLst>
          </p:cNvPr>
          <p:cNvSpPr txBox="1">
            <a:spLocks/>
          </p:cNvSpPr>
          <p:nvPr/>
        </p:nvSpPr>
        <p:spPr>
          <a:xfrm>
            <a:off x="1276628" y="3231277"/>
            <a:ext cx="1905114" cy="1028109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торгов заключил договор покупки  и внес финансовое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е исполнения условий договора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25271559-286A-CE4F-ABFF-12037B1DCFDF}"/>
              </a:ext>
            </a:extLst>
          </p:cNvPr>
          <p:cNvSpPr txBox="1">
            <a:spLocks/>
          </p:cNvSpPr>
          <p:nvPr/>
        </p:nvSpPr>
        <p:spPr>
          <a:xfrm>
            <a:off x="4204338" y="2511074"/>
            <a:ext cx="1881936" cy="1028109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уклонился от заключения договора и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/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ли не предоставил финансовое  обеспечение исполнения условий договора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421916-ABBE-4515-A859-AC519E680022}"/>
              </a:ext>
            </a:extLst>
          </p:cNvPr>
          <p:cNvSpPr/>
          <p:nvPr/>
        </p:nvSpPr>
        <p:spPr>
          <a:xfrm>
            <a:off x="829365" y="-30003"/>
            <a:ext cx="5935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я возврата и удержания  финансового обеспечения заявки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BE46A31-35C0-4518-B604-06EBBF5ABABD}"/>
              </a:ext>
            </a:extLst>
          </p:cNvPr>
          <p:cNvSpPr txBox="1"/>
          <p:nvPr/>
        </p:nvSpPr>
        <p:spPr>
          <a:xfrm>
            <a:off x="1193182" y="1148052"/>
            <a:ext cx="1999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я возврата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AE07990-9E89-4AAC-97A5-34430670BB87}"/>
              </a:ext>
            </a:extLst>
          </p:cNvPr>
          <p:cNvSpPr txBox="1"/>
          <p:nvPr/>
        </p:nvSpPr>
        <p:spPr>
          <a:xfrm>
            <a:off x="3558255" y="1148051"/>
            <a:ext cx="2636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е удержания*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21A27FE4-88BB-467E-BD3E-16178C398D00}"/>
              </a:ext>
            </a:extLst>
          </p:cNvPr>
          <p:cNvSpPr txBox="1">
            <a:spLocks/>
          </p:cNvSpPr>
          <p:nvPr/>
        </p:nvSpPr>
        <p:spPr>
          <a:xfrm>
            <a:off x="791271" y="4747008"/>
            <a:ext cx="5295003" cy="359656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0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ФЦ выставляет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0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ребование 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 оплату банку</a:t>
            </a:r>
          </a:p>
          <a:p>
            <a:pPr>
              <a:lnSpc>
                <a:spcPts val="985"/>
              </a:lnSpc>
            </a:pPr>
            <a:endParaRPr lang="en-US" sz="675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8730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0040">
            <a:extLst>
              <a:ext uri="{FF2B5EF4-FFF2-40B4-BE49-F238E27FC236}">
                <a16:creationId xmlns:a16="http://schemas.microsoft.com/office/drawing/2014/main" id="{C354158D-1600-6A4C-A6C5-04F4785BA029}"/>
              </a:ext>
            </a:extLst>
          </p:cNvPr>
          <p:cNvSpPr/>
          <p:nvPr/>
        </p:nvSpPr>
        <p:spPr>
          <a:xfrm>
            <a:off x="-71" y="2380976"/>
            <a:ext cx="6858071" cy="0"/>
          </a:xfrm>
          <a:prstGeom prst="line">
            <a:avLst/>
          </a:prstGeom>
          <a:noFill/>
          <a:ln w="63500" cap="flat">
            <a:solidFill>
              <a:srgbClr val="E5E5E5"/>
            </a:solidFill>
            <a:prstDash val="solid"/>
            <a:miter lim="400000"/>
          </a:ln>
          <a:effectLst/>
        </p:spPr>
        <p:txBody>
          <a:bodyPr wrap="square" lIns="20097" tIns="20097" rIns="20097" bIns="20097" numCol="1" anchor="ctr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2" name="Shape 10041">
            <a:extLst>
              <a:ext uri="{FF2B5EF4-FFF2-40B4-BE49-F238E27FC236}">
                <a16:creationId xmlns:a16="http://schemas.microsoft.com/office/drawing/2014/main" id="{C29407D9-DB6E-E249-B4EF-CFF5EB6C5C88}"/>
              </a:ext>
            </a:extLst>
          </p:cNvPr>
          <p:cNvSpPr/>
          <p:nvPr/>
        </p:nvSpPr>
        <p:spPr>
          <a:xfrm>
            <a:off x="966990" y="2170643"/>
            <a:ext cx="420665" cy="42066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0" name="Chart 10044">
            <a:extLst>
              <a:ext uri="{FF2B5EF4-FFF2-40B4-BE49-F238E27FC236}">
                <a16:creationId xmlns:a16="http://schemas.microsoft.com/office/drawing/2014/main" id="{D78AA218-BBF5-7C40-9C32-7EE6E5B6B9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1403806"/>
              </p:ext>
            </p:extLst>
          </p:nvPr>
        </p:nvGraphicFramePr>
        <p:xfrm>
          <a:off x="646877" y="996381"/>
          <a:ext cx="1060889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1" name="Shape 10045">
            <a:extLst>
              <a:ext uri="{FF2B5EF4-FFF2-40B4-BE49-F238E27FC236}">
                <a16:creationId xmlns:a16="http://schemas.microsoft.com/office/drawing/2014/main" id="{A159DC5B-EEC8-7540-8AF6-CA8DA9129A5A}"/>
              </a:ext>
            </a:extLst>
          </p:cNvPr>
          <p:cNvSpPr/>
          <p:nvPr/>
        </p:nvSpPr>
        <p:spPr>
          <a:xfrm>
            <a:off x="776311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Shape 10051">
            <a:extLst>
              <a:ext uri="{FF2B5EF4-FFF2-40B4-BE49-F238E27FC236}">
                <a16:creationId xmlns:a16="http://schemas.microsoft.com/office/drawing/2014/main" id="{B7E0E386-CD3F-E645-A613-8BA8D06FB1C9}"/>
              </a:ext>
            </a:extLst>
          </p:cNvPr>
          <p:cNvSpPr/>
          <p:nvPr/>
        </p:nvSpPr>
        <p:spPr>
          <a:xfrm>
            <a:off x="2468487" y="2170643"/>
            <a:ext cx="420665" cy="420665"/>
          </a:xfrm>
          <a:prstGeom prst="ellipse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31" name="Chart 10054">
            <a:extLst>
              <a:ext uri="{FF2B5EF4-FFF2-40B4-BE49-F238E27FC236}">
                <a16:creationId xmlns:a16="http://schemas.microsoft.com/office/drawing/2014/main" id="{6D9817EB-7503-BD4E-A3B9-11FD13E031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492732"/>
              </p:ext>
            </p:extLst>
          </p:nvPr>
        </p:nvGraphicFramePr>
        <p:xfrm>
          <a:off x="2148375" y="996381"/>
          <a:ext cx="1060889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Shape 10055">
            <a:extLst>
              <a:ext uri="{FF2B5EF4-FFF2-40B4-BE49-F238E27FC236}">
                <a16:creationId xmlns:a16="http://schemas.microsoft.com/office/drawing/2014/main" id="{2EF412FE-62E6-8C40-A6FB-3637CCAE268C}"/>
              </a:ext>
            </a:extLst>
          </p:cNvPr>
          <p:cNvSpPr/>
          <p:nvPr/>
        </p:nvSpPr>
        <p:spPr>
          <a:xfrm>
            <a:off x="2277809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Shape 10061">
            <a:extLst>
              <a:ext uri="{FF2B5EF4-FFF2-40B4-BE49-F238E27FC236}">
                <a16:creationId xmlns:a16="http://schemas.microsoft.com/office/drawing/2014/main" id="{3B780867-821F-A24C-B9D9-3FF54FCC5F11}"/>
              </a:ext>
            </a:extLst>
          </p:cNvPr>
          <p:cNvSpPr/>
          <p:nvPr/>
        </p:nvSpPr>
        <p:spPr>
          <a:xfrm>
            <a:off x="3968676" y="2170643"/>
            <a:ext cx="420665" cy="420665"/>
          </a:xfrm>
          <a:prstGeom prst="ellipse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22" name="Chart 10064">
            <a:extLst>
              <a:ext uri="{FF2B5EF4-FFF2-40B4-BE49-F238E27FC236}">
                <a16:creationId xmlns:a16="http://schemas.microsoft.com/office/drawing/2014/main" id="{96B632C9-BFCA-CA4B-9D95-5DF97EFEB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6198995"/>
              </p:ext>
            </p:extLst>
          </p:nvPr>
        </p:nvGraphicFramePr>
        <p:xfrm>
          <a:off x="3648563" y="996381"/>
          <a:ext cx="1060889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Shape 10065">
            <a:extLst>
              <a:ext uri="{FF2B5EF4-FFF2-40B4-BE49-F238E27FC236}">
                <a16:creationId xmlns:a16="http://schemas.microsoft.com/office/drawing/2014/main" id="{ABF0410E-2F1C-BB47-9AC9-ED5B4BE5A191}"/>
              </a:ext>
            </a:extLst>
          </p:cNvPr>
          <p:cNvSpPr/>
          <p:nvPr/>
        </p:nvSpPr>
        <p:spPr>
          <a:xfrm>
            <a:off x="3777997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Shape 10071">
            <a:extLst>
              <a:ext uri="{FF2B5EF4-FFF2-40B4-BE49-F238E27FC236}">
                <a16:creationId xmlns:a16="http://schemas.microsoft.com/office/drawing/2014/main" id="{A8EEE600-4259-F544-A948-73B6324E67AA}"/>
              </a:ext>
            </a:extLst>
          </p:cNvPr>
          <p:cNvSpPr/>
          <p:nvPr/>
        </p:nvSpPr>
        <p:spPr>
          <a:xfrm>
            <a:off x="5470173" y="2170643"/>
            <a:ext cx="420665" cy="420665"/>
          </a:xfrm>
          <a:prstGeom prst="ellipse">
            <a:avLst/>
          </a:prstGeom>
          <a:solidFill>
            <a:srgbClr val="3494BA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3" name="Chart 10074">
            <a:extLst>
              <a:ext uri="{FF2B5EF4-FFF2-40B4-BE49-F238E27FC236}">
                <a16:creationId xmlns:a16="http://schemas.microsoft.com/office/drawing/2014/main" id="{BE485DA5-323A-7C4E-A528-85D1421415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8367622"/>
              </p:ext>
            </p:extLst>
          </p:nvPr>
        </p:nvGraphicFramePr>
        <p:xfrm>
          <a:off x="5150061" y="996381"/>
          <a:ext cx="1060890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Shape 10075">
            <a:extLst>
              <a:ext uri="{FF2B5EF4-FFF2-40B4-BE49-F238E27FC236}">
                <a16:creationId xmlns:a16="http://schemas.microsoft.com/office/drawing/2014/main" id="{A3A1A5B3-42C3-6D4D-8668-A43555DFAAF8}"/>
              </a:ext>
            </a:extLst>
          </p:cNvPr>
          <p:cNvSpPr/>
          <p:nvPr/>
        </p:nvSpPr>
        <p:spPr>
          <a:xfrm>
            <a:off x="5279495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Shape 6806">
            <a:extLst>
              <a:ext uri="{FF2B5EF4-FFF2-40B4-BE49-F238E27FC236}">
                <a16:creationId xmlns:a16="http://schemas.microsoft.com/office/drawing/2014/main" id="{30C07F3B-BBE4-AC4B-9A59-F65A5BE9B42D}"/>
              </a:ext>
            </a:extLst>
          </p:cNvPr>
          <p:cNvSpPr/>
          <p:nvPr/>
        </p:nvSpPr>
        <p:spPr>
          <a:xfrm>
            <a:off x="1022306" y="1383963"/>
            <a:ext cx="310034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Shape 6806">
            <a:extLst>
              <a:ext uri="{FF2B5EF4-FFF2-40B4-BE49-F238E27FC236}">
                <a16:creationId xmlns:a16="http://schemas.microsoft.com/office/drawing/2014/main" id="{0DA1EBF8-E2EA-B048-9848-B0C6BE4DC132}"/>
              </a:ext>
            </a:extLst>
          </p:cNvPr>
          <p:cNvSpPr/>
          <p:nvPr/>
        </p:nvSpPr>
        <p:spPr>
          <a:xfrm>
            <a:off x="2470858" y="1383963"/>
            <a:ext cx="417435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3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46" name="Shape 6806">
            <a:extLst>
              <a:ext uri="{FF2B5EF4-FFF2-40B4-BE49-F238E27FC236}">
                <a16:creationId xmlns:a16="http://schemas.microsoft.com/office/drawing/2014/main" id="{7740C8B2-0451-694C-A2C4-3FED216D724E}"/>
              </a:ext>
            </a:extLst>
          </p:cNvPr>
          <p:cNvSpPr/>
          <p:nvPr/>
        </p:nvSpPr>
        <p:spPr>
          <a:xfrm>
            <a:off x="3970292" y="1383963"/>
            <a:ext cx="417435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7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Shape 6806">
            <a:extLst>
              <a:ext uri="{FF2B5EF4-FFF2-40B4-BE49-F238E27FC236}">
                <a16:creationId xmlns:a16="http://schemas.microsoft.com/office/drawing/2014/main" id="{A9AEE9F4-FA91-6F47-9C57-B99A9A3E095A}"/>
              </a:ext>
            </a:extLst>
          </p:cNvPr>
          <p:cNvSpPr/>
          <p:nvPr/>
        </p:nvSpPr>
        <p:spPr>
          <a:xfrm>
            <a:off x="5418260" y="1383963"/>
            <a:ext cx="524836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10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D776B417-59EC-4E42-B01C-FB1955DB17BA}"/>
              </a:ext>
            </a:extLst>
          </p:cNvPr>
          <p:cNvSpPr txBox="1">
            <a:spLocks/>
          </p:cNvSpPr>
          <p:nvPr/>
        </p:nvSpPr>
        <p:spPr>
          <a:xfrm>
            <a:off x="74645" y="3075404"/>
            <a:ext cx="1915886" cy="1992924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обеспечение полностью возвращается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и своевременном вводе в эксплуатацию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новь вводимых в эксплуатацию генерирующих установок с маневренным режимом генерации в течение </a:t>
            </a:r>
            <a:r>
              <a:rPr lang="ru-RU" sz="900" u="sng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 рабочих дней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о дня </a:t>
            </a: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ведения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эксплуатацию вновь вводимых в эксплуатацию генерирующих установок с маневренным режимом генерации </a:t>
            </a:r>
          </a:p>
          <a:p>
            <a:pPr algn="l">
              <a:lnSpc>
                <a:spcPts val="985"/>
              </a:lnSpc>
            </a:pP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>
              <a:lnSpc>
                <a:spcPts val="985"/>
              </a:lnSpc>
            </a:pPr>
            <a:endParaRPr lang="en-US" sz="675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A7941A8F-2288-8342-B989-7081A8AE7BFE}"/>
              </a:ext>
            </a:extLst>
          </p:cNvPr>
          <p:cNvSpPr txBox="1">
            <a:spLocks/>
          </p:cNvSpPr>
          <p:nvPr/>
        </p:nvSpPr>
        <p:spPr>
          <a:xfrm>
            <a:off x="3900197" y="3042784"/>
            <a:ext cx="2957803" cy="1132019"/>
          </a:xfrm>
          <a:prstGeom prst="roundRect">
            <a:avLst/>
          </a:prstGeom>
          <a:noFill/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0% (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случае удержания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0% 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финансового обеспечения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ранее) или 100% от суммы обеспечения удерживается при непредоставлении 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опии акта приемки объекта в эксплуатацию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в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ечение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36 мес для </a:t>
            </a:r>
            <a:r>
              <a:rPr lang="ru-RU" sz="9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газовых электростанций </a:t>
            </a: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аты подписания </a:t>
            </a: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оговора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электрической мощности</a:t>
            </a:r>
            <a:endParaRPr lang="en-US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592AC48-18DC-EB4E-B7EB-62E3ECC0757A}"/>
              </a:ext>
            </a:extLst>
          </p:cNvPr>
          <p:cNvSpPr txBox="1"/>
          <p:nvPr/>
        </p:nvSpPr>
        <p:spPr>
          <a:xfrm>
            <a:off x="3811262" y="2634629"/>
            <a:ext cx="958917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0% от суммы </a:t>
            </a:r>
            <a:b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я</a:t>
            </a:r>
            <a:endParaRPr lang="en-US" sz="10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200862D-4839-6840-AB26-39C066D6E06E}"/>
              </a:ext>
            </a:extLst>
          </p:cNvPr>
          <p:cNvSpPr txBox="1"/>
          <p:nvPr/>
        </p:nvSpPr>
        <p:spPr>
          <a:xfrm>
            <a:off x="5159428" y="2634629"/>
            <a:ext cx="1051891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0 % от суммы </a:t>
            </a:r>
            <a:b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я</a:t>
            </a:r>
            <a:endParaRPr lang="en-US" sz="10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A3645AB-27AC-43FE-9F5E-FA331FA566F1}"/>
              </a:ext>
            </a:extLst>
          </p:cNvPr>
          <p:cNvSpPr txBox="1"/>
          <p:nvPr/>
        </p:nvSpPr>
        <p:spPr>
          <a:xfrm>
            <a:off x="722963" y="2638047"/>
            <a:ext cx="901209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 от суммы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обеспечения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0E9E5A3-B0CF-4875-A3DE-AD47B3A5B2A2}"/>
              </a:ext>
            </a:extLst>
          </p:cNvPr>
          <p:cNvSpPr txBox="1"/>
          <p:nvPr/>
        </p:nvSpPr>
        <p:spPr>
          <a:xfrm>
            <a:off x="2256550" y="2638047"/>
            <a:ext cx="958917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0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 от суммы 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я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8BB17CC-1E8B-4822-8916-7454702D20C6}"/>
              </a:ext>
            </a:extLst>
          </p:cNvPr>
          <p:cNvSpPr txBox="1">
            <a:spLocks/>
          </p:cNvSpPr>
          <p:nvPr/>
        </p:nvSpPr>
        <p:spPr>
          <a:xfrm>
            <a:off x="2026688" y="3077652"/>
            <a:ext cx="1941988" cy="1549469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0% от суммы обеспечения </a:t>
            </a:r>
            <a:b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держивается при не </a:t>
            </a: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едоставлении копии 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ведомления о начале СМР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</a:t>
            </a:r>
            <a:b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9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ечении</a:t>
            </a:r>
            <a:r>
              <a:rPr lang="ru-RU" sz="9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8 </a:t>
            </a:r>
            <a:r>
              <a:rPr lang="ru-RU" sz="900" b="1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ес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для </a:t>
            </a:r>
            <a:r>
              <a:rPr lang="ru-RU" sz="9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газовых электростанций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 даты подписания договора покупки электрической мощности</a:t>
            </a:r>
            <a:endParaRPr lang="en-US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US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908971A-AE71-4799-8623-4C30C13A2044}"/>
              </a:ext>
            </a:extLst>
          </p:cNvPr>
          <p:cNvSpPr/>
          <p:nvPr/>
        </p:nvSpPr>
        <p:spPr>
          <a:xfrm>
            <a:off x="797906" y="0"/>
            <a:ext cx="618860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я удержания  финансового обеспечения условий договора</a:t>
            </a:r>
          </a:p>
        </p:txBody>
      </p:sp>
      <p:sp>
        <p:nvSpPr>
          <p:cNvPr id="39" name="Freeform 4848">
            <a:extLst>
              <a:ext uri="{FF2B5EF4-FFF2-40B4-BE49-F238E27FC236}">
                <a16:creationId xmlns:a16="http://schemas.microsoft.com/office/drawing/2014/main" id="{0D4DCC88-7D03-425F-888E-349D0AF44456}"/>
              </a:ext>
            </a:extLst>
          </p:cNvPr>
          <p:cNvSpPr>
            <a:spLocks noEditPoints="1"/>
          </p:cNvSpPr>
          <p:nvPr/>
        </p:nvSpPr>
        <p:spPr bwMode="auto">
          <a:xfrm>
            <a:off x="2554714" y="2263876"/>
            <a:ext cx="263861" cy="213231"/>
          </a:xfrm>
          <a:custGeom>
            <a:avLst/>
            <a:gdLst>
              <a:gd name="T0" fmla="*/ 198 w 354"/>
              <a:gd name="T1" fmla="*/ 12 h 314"/>
              <a:gd name="T2" fmla="*/ 194 w 354"/>
              <a:gd name="T3" fmla="*/ 8 h 314"/>
              <a:gd name="T4" fmla="*/ 184 w 354"/>
              <a:gd name="T5" fmla="*/ 0 h 314"/>
              <a:gd name="T6" fmla="*/ 178 w 354"/>
              <a:gd name="T7" fmla="*/ 0 h 314"/>
              <a:gd name="T8" fmla="*/ 166 w 354"/>
              <a:gd name="T9" fmla="*/ 4 h 314"/>
              <a:gd name="T10" fmla="*/ 158 w 354"/>
              <a:gd name="T11" fmla="*/ 12 h 314"/>
              <a:gd name="T12" fmla="*/ 4 w 354"/>
              <a:gd name="T13" fmla="*/ 278 h 314"/>
              <a:gd name="T14" fmla="*/ 0 w 354"/>
              <a:gd name="T15" fmla="*/ 290 h 314"/>
              <a:gd name="T16" fmla="*/ 4 w 354"/>
              <a:gd name="T17" fmla="*/ 302 h 314"/>
              <a:gd name="T18" fmla="*/ 8 w 354"/>
              <a:gd name="T19" fmla="*/ 306 h 314"/>
              <a:gd name="T20" fmla="*/ 18 w 354"/>
              <a:gd name="T21" fmla="*/ 312 h 314"/>
              <a:gd name="T22" fmla="*/ 330 w 354"/>
              <a:gd name="T23" fmla="*/ 314 h 314"/>
              <a:gd name="T24" fmla="*/ 338 w 354"/>
              <a:gd name="T25" fmla="*/ 312 h 314"/>
              <a:gd name="T26" fmla="*/ 348 w 354"/>
              <a:gd name="T27" fmla="*/ 306 h 314"/>
              <a:gd name="T28" fmla="*/ 352 w 354"/>
              <a:gd name="T29" fmla="*/ 302 h 314"/>
              <a:gd name="T30" fmla="*/ 354 w 354"/>
              <a:gd name="T31" fmla="*/ 290 h 314"/>
              <a:gd name="T32" fmla="*/ 352 w 354"/>
              <a:gd name="T33" fmla="*/ 278 h 314"/>
              <a:gd name="T34" fmla="*/ 42 w 354"/>
              <a:gd name="T35" fmla="*/ 280 h 314"/>
              <a:gd name="T36" fmla="*/ 314 w 354"/>
              <a:gd name="T37" fmla="*/ 280 h 314"/>
              <a:gd name="T38" fmla="*/ 160 w 354"/>
              <a:gd name="T39" fmla="*/ 142 h 314"/>
              <a:gd name="T40" fmla="*/ 158 w 354"/>
              <a:gd name="T41" fmla="*/ 132 h 314"/>
              <a:gd name="T42" fmla="*/ 160 w 354"/>
              <a:gd name="T43" fmla="*/ 126 h 314"/>
              <a:gd name="T44" fmla="*/ 164 w 354"/>
              <a:gd name="T45" fmla="*/ 122 h 314"/>
              <a:gd name="T46" fmla="*/ 178 w 354"/>
              <a:gd name="T47" fmla="*/ 118 h 314"/>
              <a:gd name="T48" fmla="*/ 186 w 354"/>
              <a:gd name="T49" fmla="*/ 118 h 314"/>
              <a:gd name="T50" fmla="*/ 192 w 354"/>
              <a:gd name="T51" fmla="*/ 122 h 314"/>
              <a:gd name="T52" fmla="*/ 198 w 354"/>
              <a:gd name="T53" fmla="*/ 132 h 314"/>
              <a:gd name="T54" fmla="*/ 196 w 354"/>
              <a:gd name="T55" fmla="*/ 142 h 314"/>
              <a:gd name="T56" fmla="*/ 172 w 354"/>
              <a:gd name="T57" fmla="*/ 206 h 314"/>
              <a:gd name="T58" fmla="*/ 178 w 354"/>
              <a:gd name="T59" fmla="*/ 218 h 314"/>
              <a:gd name="T60" fmla="*/ 186 w 354"/>
              <a:gd name="T61" fmla="*/ 220 h 314"/>
              <a:gd name="T62" fmla="*/ 190 w 354"/>
              <a:gd name="T63" fmla="*/ 224 h 314"/>
              <a:gd name="T64" fmla="*/ 194 w 354"/>
              <a:gd name="T65" fmla="*/ 230 h 314"/>
              <a:gd name="T66" fmla="*/ 196 w 354"/>
              <a:gd name="T67" fmla="*/ 238 h 314"/>
              <a:gd name="T68" fmla="*/ 194 w 354"/>
              <a:gd name="T69" fmla="*/ 244 h 314"/>
              <a:gd name="T70" fmla="*/ 190 w 354"/>
              <a:gd name="T71" fmla="*/ 250 h 314"/>
              <a:gd name="T72" fmla="*/ 186 w 354"/>
              <a:gd name="T73" fmla="*/ 254 h 314"/>
              <a:gd name="T74" fmla="*/ 178 w 354"/>
              <a:gd name="T75" fmla="*/ 256 h 314"/>
              <a:gd name="T76" fmla="*/ 170 w 354"/>
              <a:gd name="T77" fmla="*/ 254 h 314"/>
              <a:gd name="T78" fmla="*/ 166 w 354"/>
              <a:gd name="T79" fmla="*/ 250 h 314"/>
              <a:gd name="T80" fmla="*/ 162 w 354"/>
              <a:gd name="T81" fmla="*/ 244 h 314"/>
              <a:gd name="T82" fmla="*/ 160 w 354"/>
              <a:gd name="T83" fmla="*/ 238 h 314"/>
              <a:gd name="T84" fmla="*/ 162 w 354"/>
              <a:gd name="T85" fmla="*/ 230 h 314"/>
              <a:gd name="T86" fmla="*/ 166 w 354"/>
              <a:gd name="T87" fmla="*/ 224 h 314"/>
              <a:gd name="T88" fmla="*/ 178 w 354"/>
              <a:gd name="T89" fmla="*/ 218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54" h="314">
                <a:moveTo>
                  <a:pt x="352" y="278"/>
                </a:moveTo>
                <a:lnTo>
                  <a:pt x="198" y="12"/>
                </a:lnTo>
                <a:lnTo>
                  <a:pt x="198" y="12"/>
                </a:lnTo>
                <a:lnTo>
                  <a:pt x="194" y="8"/>
                </a:lnTo>
                <a:lnTo>
                  <a:pt x="190" y="4"/>
                </a:lnTo>
                <a:lnTo>
                  <a:pt x="184" y="0"/>
                </a:lnTo>
                <a:lnTo>
                  <a:pt x="178" y="0"/>
                </a:lnTo>
                <a:lnTo>
                  <a:pt x="178" y="0"/>
                </a:lnTo>
                <a:lnTo>
                  <a:pt x="172" y="0"/>
                </a:lnTo>
                <a:lnTo>
                  <a:pt x="166" y="4"/>
                </a:lnTo>
                <a:lnTo>
                  <a:pt x="162" y="8"/>
                </a:lnTo>
                <a:lnTo>
                  <a:pt x="158" y="12"/>
                </a:lnTo>
                <a:lnTo>
                  <a:pt x="4" y="278"/>
                </a:lnTo>
                <a:lnTo>
                  <a:pt x="4" y="278"/>
                </a:lnTo>
                <a:lnTo>
                  <a:pt x="2" y="282"/>
                </a:lnTo>
                <a:lnTo>
                  <a:pt x="0" y="290"/>
                </a:lnTo>
                <a:lnTo>
                  <a:pt x="2" y="296"/>
                </a:lnTo>
                <a:lnTo>
                  <a:pt x="4" y="302"/>
                </a:lnTo>
                <a:lnTo>
                  <a:pt x="4" y="302"/>
                </a:lnTo>
                <a:lnTo>
                  <a:pt x="8" y="306"/>
                </a:lnTo>
                <a:lnTo>
                  <a:pt x="12" y="310"/>
                </a:lnTo>
                <a:lnTo>
                  <a:pt x="18" y="312"/>
                </a:lnTo>
                <a:lnTo>
                  <a:pt x="26" y="314"/>
                </a:lnTo>
                <a:lnTo>
                  <a:pt x="330" y="314"/>
                </a:lnTo>
                <a:lnTo>
                  <a:pt x="330" y="314"/>
                </a:lnTo>
                <a:lnTo>
                  <a:pt x="338" y="312"/>
                </a:lnTo>
                <a:lnTo>
                  <a:pt x="342" y="310"/>
                </a:lnTo>
                <a:lnTo>
                  <a:pt x="348" y="306"/>
                </a:lnTo>
                <a:lnTo>
                  <a:pt x="352" y="302"/>
                </a:lnTo>
                <a:lnTo>
                  <a:pt x="352" y="302"/>
                </a:lnTo>
                <a:lnTo>
                  <a:pt x="354" y="296"/>
                </a:lnTo>
                <a:lnTo>
                  <a:pt x="354" y="290"/>
                </a:lnTo>
                <a:lnTo>
                  <a:pt x="354" y="282"/>
                </a:lnTo>
                <a:lnTo>
                  <a:pt x="352" y="278"/>
                </a:lnTo>
                <a:lnTo>
                  <a:pt x="352" y="278"/>
                </a:lnTo>
                <a:close/>
                <a:moveTo>
                  <a:pt x="42" y="280"/>
                </a:moveTo>
                <a:lnTo>
                  <a:pt x="178" y="44"/>
                </a:lnTo>
                <a:lnTo>
                  <a:pt x="314" y="280"/>
                </a:lnTo>
                <a:lnTo>
                  <a:pt x="42" y="280"/>
                </a:lnTo>
                <a:close/>
                <a:moveTo>
                  <a:pt x="160" y="142"/>
                </a:moveTo>
                <a:lnTo>
                  <a:pt x="160" y="142"/>
                </a:lnTo>
                <a:lnTo>
                  <a:pt x="158" y="132"/>
                </a:lnTo>
                <a:lnTo>
                  <a:pt x="158" y="132"/>
                </a:lnTo>
                <a:lnTo>
                  <a:pt x="160" y="126"/>
                </a:lnTo>
                <a:lnTo>
                  <a:pt x="164" y="122"/>
                </a:lnTo>
                <a:lnTo>
                  <a:pt x="164" y="122"/>
                </a:lnTo>
                <a:lnTo>
                  <a:pt x="170" y="118"/>
                </a:lnTo>
                <a:lnTo>
                  <a:pt x="178" y="118"/>
                </a:lnTo>
                <a:lnTo>
                  <a:pt x="178" y="118"/>
                </a:lnTo>
                <a:lnTo>
                  <a:pt x="186" y="118"/>
                </a:lnTo>
                <a:lnTo>
                  <a:pt x="192" y="122"/>
                </a:lnTo>
                <a:lnTo>
                  <a:pt x="192" y="122"/>
                </a:lnTo>
                <a:lnTo>
                  <a:pt x="196" y="126"/>
                </a:lnTo>
                <a:lnTo>
                  <a:pt x="198" y="132"/>
                </a:lnTo>
                <a:lnTo>
                  <a:pt x="198" y="132"/>
                </a:lnTo>
                <a:lnTo>
                  <a:pt x="196" y="142"/>
                </a:lnTo>
                <a:lnTo>
                  <a:pt x="184" y="206"/>
                </a:lnTo>
                <a:lnTo>
                  <a:pt x="172" y="206"/>
                </a:lnTo>
                <a:lnTo>
                  <a:pt x="160" y="142"/>
                </a:lnTo>
                <a:close/>
                <a:moveTo>
                  <a:pt x="178" y="218"/>
                </a:moveTo>
                <a:lnTo>
                  <a:pt x="178" y="218"/>
                </a:lnTo>
                <a:lnTo>
                  <a:pt x="186" y="220"/>
                </a:lnTo>
                <a:lnTo>
                  <a:pt x="186" y="220"/>
                </a:lnTo>
                <a:lnTo>
                  <a:pt x="190" y="224"/>
                </a:lnTo>
                <a:lnTo>
                  <a:pt x="190" y="224"/>
                </a:lnTo>
                <a:lnTo>
                  <a:pt x="194" y="230"/>
                </a:lnTo>
                <a:lnTo>
                  <a:pt x="194" y="230"/>
                </a:lnTo>
                <a:lnTo>
                  <a:pt x="196" y="238"/>
                </a:lnTo>
                <a:lnTo>
                  <a:pt x="196" y="238"/>
                </a:lnTo>
                <a:lnTo>
                  <a:pt x="194" y="244"/>
                </a:lnTo>
                <a:lnTo>
                  <a:pt x="194" y="244"/>
                </a:lnTo>
                <a:lnTo>
                  <a:pt x="190" y="250"/>
                </a:lnTo>
                <a:lnTo>
                  <a:pt x="190" y="250"/>
                </a:lnTo>
                <a:lnTo>
                  <a:pt x="186" y="254"/>
                </a:lnTo>
                <a:lnTo>
                  <a:pt x="186" y="254"/>
                </a:lnTo>
                <a:lnTo>
                  <a:pt x="178" y="256"/>
                </a:lnTo>
                <a:lnTo>
                  <a:pt x="178" y="256"/>
                </a:lnTo>
                <a:lnTo>
                  <a:pt x="170" y="254"/>
                </a:lnTo>
                <a:lnTo>
                  <a:pt x="170" y="254"/>
                </a:lnTo>
                <a:lnTo>
                  <a:pt x="166" y="250"/>
                </a:lnTo>
                <a:lnTo>
                  <a:pt x="166" y="250"/>
                </a:lnTo>
                <a:lnTo>
                  <a:pt x="162" y="244"/>
                </a:lnTo>
                <a:lnTo>
                  <a:pt x="162" y="244"/>
                </a:lnTo>
                <a:lnTo>
                  <a:pt x="160" y="238"/>
                </a:lnTo>
                <a:lnTo>
                  <a:pt x="160" y="238"/>
                </a:lnTo>
                <a:lnTo>
                  <a:pt x="162" y="230"/>
                </a:lnTo>
                <a:lnTo>
                  <a:pt x="166" y="224"/>
                </a:lnTo>
                <a:lnTo>
                  <a:pt x="166" y="224"/>
                </a:lnTo>
                <a:lnTo>
                  <a:pt x="170" y="220"/>
                </a:lnTo>
                <a:lnTo>
                  <a:pt x="178" y="218"/>
                </a:lnTo>
                <a:lnTo>
                  <a:pt x="178" y="2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2" name="Freeform 192">
            <a:extLst>
              <a:ext uri="{FF2B5EF4-FFF2-40B4-BE49-F238E27FC236}">
                <a16:creationId xmlns:a16="http://schemas.microsoft.com/office/drawing/2014/main" id="{5C512A32-C165-487A-B666-BA86C6E8698B}"/>
              </a:ext>
            </a:extLst>
          </p:cNvPr>
          <p:cNvSpPr>
            <a:spLocks/>
          </p:cNvSpPr>
          <p:nvPr/>
        </p:nvSpPr>
        <p:spPr bwMode="auto">
          <a:xfrm>
            <a:off x="1089869" y="2241879"/>
            <a:ext cx="202403" cy="235228"/>
          </a:xfrm>
          <a:custGeom>
            <a:avLst/>
            <a:gdLst>
              <a:gd name="T0" fmla="*/ 36952266 w 15756"/>
              <a:gd name="T1" fmla="*/ 4412460 h 16364"/>
              <a:gd name="T2" fmla="*/ 33094465 w 15756"/>
              <a:gd name="T3" fmla="*/ 8349246 h 16364"/>
              <a:gd name="T4" fmla="*/ 29403603 w 15756"/>
              <a:gd name="T5" fmla="*/ 12294895 h 16364"/>
              <a:gd name="T6" fmla="*/ 25879675 w 15756"/>
              <a:gd name="T7" fmla="*/ 16253889 h 16364"/>
              <a:gd name="T8" fmla="*/ 22548437 w 15756"/>
              <a:gd name="T9" fmla="*/ 20192890 h 16364"/>
              <a:gd name="T10" fmla="*/ 19448299 w 15756"/>
              <a:gd name="T11" fmla="*/ 24065177 h 16364"/>
              <a:gd name="T12" fmla="*/ 16587067 w 15756"/>
              <a:gd name="T13" fmla="*/ 27870804 h 16364"/>
              <a:gd name="T14" fmla="*/ 13959519 w 15756"/>
              <a:gd name="T15" fmla="*/ 31611926 h 16364"/>
              <a:gd name="T16" fmla="*/ 12793423 w 15756"/>
              <a:gd name="T17" fmla="*/ 33425839 h 16364"/>
              <a:gd name="T18" fmla="*/ 11807142 w 15756"/>
              <a:gd name="T19" fmla="*/ 34721787 h 16364"/>
              <a:gd name="T20" fmla="*/ 10594880 w 15756"/>
              <a:gd name="T21" fmla="*/ 35610946 h 16364"/>
              <a:gd name="T22" fmla="*/ 9118019 w 15756"/>
              <a:gd name="T23" fmla="*/ 36160028 h 16364"/>
              <a:gd name="T24" fmla="*/ 7376608 w 15756"/>
              <a:gd name="T25" fmla="*/ 36373418 h 16364"/>
              <a:gd name="T26" fmla="*/ 5825246 w 15756"/>
              <a:gd name="T27" fmla="*/ 36322263 h 16364"/>
              <a:gd name="T28" fmla="*/ 4903176 w 15756"/>
              <a:gd name="T29" fmla="*/ 36148901 h 16364"/>
              <a:gd name="T30" fmla="*/ 4592407 w 15756"/>
              <a:gd name="T31" fmla="*/ 35995529 h 16364"/>
              <a:gd name="T32" fmla="*/ 4245656 w 15756"/>
              <a:gd name="T33" fmla="*/ 35710993 h 16364"/>
              <a:gd name="T34" fmla="*/ 3624067 w 15756"/>
              <a:gd name="T35" fmla="*/ 34890718 h 16364"/>
              <a:gd name="T36" fmla="*/ 2925445 w 15756"/>
              <a:gd name="T37" fmla="*/ 33623671 h 16364"/>
              <a:gd name="T38" fmla="*/ 2267924 w 15756"/>
              <a:gd name="T39" fmla="*/ 32243233 h 16364"/>
              <a:gd name="T40" fmla="*/ 1451167 w 15756"/>
              <a:gd name="T41" fmla="*/ 30198202 h 16364"/>
              <a:gd name="T42" fmla="*/ 493166 w 15756"/>
              <a:gd name="T43" fmla="*/ 27192820 h 16364"/>
              <a:gd name="T44" fmla="*/ 82203 w 15756"/>
              <a:gd name="T45" fmla="*/ 25376691 h 16364"/>
              <a:gd name="T46" fmla="*/ 0 w 15756"/>
              <a:gd name="T47" fmla="*/ 24569799 h 16364"/>
              <a:gd name="T48" fmla="*/ 53923 w 15756"/>
              <a:gd name="T49" fmla="*/ 23925149 h 16364"/>
              <a:gd name="T50" fmla="*/ 241439 w 15756"/>
              <a:gd name="T51" fmla="*/ 23427222 h 16364"/>
              <a:gd name="T52" fmla="*/ 626707 w 15756"/>
              <a:gd name="T53" fmla="*/ 22998178 h 16364"/>
              <a:gd name="T54" fmla="*/ 1294516 w 15756"/>
              <a:gd name="T55" fmla="*/ 22513594 h 16364"/>
              <a:gd name="T56" fmla="*/ 2388644 w 15756"/>
              <a:gd name="T57" fmla="*/ 21926747 h 16364"/>
              <a:gd name="T58" fmla="*/ 3639474 w 15756"/>
              <a:gd name="T59" fmla="*/ 21437731 h 16364"/>
              <a:gd name="T60" fmla="*/ 4890304 w 15756"/>
              <a:gd name="T61" fmla="*/ 21102039 h 16364"/>
              <a:gd name="T62" fmla="*/ 5945965 w 15756"/>
              <a:gd name="T63" fmla="*/ 20973138 h 16364"/>
              <a:gd name="T64" fmla="*/ 6415970 w 15756"/>
              <a:gd name="T65" fmla="*/ 21093176 h 16364"/>
              <a:gd name="T66" fmla="*/ 6857748 w 15756"/>
              <a:gd name="T67" fmla="*/ 21533299 h 16364"/>
              <a:gd name="T68" fmla="*/ 7343210 w 15756"/>
              <a:gd name="T69" fmla="*/ 22295772 h 16364"/>
              <a:gd name="T70" fmla="*/ 7869723 w 15756"/>
              <a:gd name="T71" fmla="*/ 23378283 h 16364"/>
              <a:gd name="T72" fmla="*/ 8082933 w 15756"/>
              <a:gd name="T73" fmla="*/ 23885120 h 16364"/>
              <a:gd name="T74" fmla="*/ 8427100 w 15756"/>
              <a:gd name="T75" fmla="*/ 24692053 h 16364"/>
              <a:gd name="T76" fmla="*/ 8897105 w 15756"/>
              <a:gd name="T77" fmla="*/ 25659011 h 16364"/>
              <a:gd name="T78" fmla="*/ 9326059 w 15756"/>
              <a:gd name="T79" fmla="*/ 26317004 h 16364"/>
              <a:gd name="T80" fmla="*/ 9716446 w 15756"/>
              <a:gd name="T81" fmla="*/ 26665991 h 16364"/>
              <a:gd name="T82" fmla="*/ 10073435 w 15756"/>
              <a:gd name="T83" fmla="*/ 26677118 h 16364"/>
              <a:gd name="T84" fmla="*/ 10738710 w 15756"/>
              <a:gd name="T85" fmla="*/ 26063585 h 16364"/>
              <a:gd name="T86" fmla="*/ 11835422 w 15756"/>
              <a:gd name="T87" fmla="*/ 24752078 h 16364"/>
              <a:gd name="T88" fmla="*/ 14046841 w 15756"/>
              <a:gd name="T89" fmla="*/ 21804493 h 16364"/>
              <a:gd name="T90" fmla="*/ 18081869 w 15756"/>
              <a:gd name="T91" fmla="*/ 16358369 h 16364"/>
              <a:gd name="T92" fmla="*/ 22188813 w 15756"/>
              <a:gd name="T93" fmla="*/ 11225680 h 16364"/>
              <a:gd name="T94" fmla="*/ 25114307 w 15756"/>
              <a:gd name="T95" fmla="*/ 7822418 h 16364"/>
              <a:gd name="T96" fmla="*/ 27592863 w 15756"/>
              <a:gd name="T97" fmla="*/ 5159373 h 16364"/>
              <a:gd name="T98" fmla="*/ 29642457 w 15756"/>
              <a:gd name="T99" fmla="*/ 3174314 h 16364"/>
              <a:gd name="T100" fmla="*/ 30685246 w 15756"/>
              <a:gd name="T101" fmla="*/ 2322920 h 16364"/>
              <a:gd name="T102" fmla="*/ 31376165 w 15756"/>
              <a:gd name="T103" fmla="*/ 1907266 h 16364"/>
              <a:gd name="T104" fmla="*/ 33130448 w 15756"/>
              <a:gd name="T105" fmla="*/ 1240362 h 16364"/>
              <a:gd name="T106" fmla="*/ 35316169 w 15756"/>
              <a:gd name="T107" fmla="*/ 675768 h 16364"/>
              <a:gd name="T108" fmla="*/ 37828116 w 15756"/>
              <a:gd name="T109" fmla="*/ 248987 h 16364"/>
              <a:gd name="T110" fmla="*/ 40468485 w 15756"/>
              <a:gd name="T111" fmla="*/ 975863 h 1636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5756"/>
              <a:gd name="T169" fmla="*/ 0 h 16364"/>
              <a:gd name="T170" fmla="*/ 15756 w 15756"/>
              <a:gd name="T171" fmla="*/ 16364 h 1636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5756" h="16364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bg2"/>
          </a:solidFill>
          <a:ln w="3175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66" name="Freeform 7">
            <a:extLst>
              <a:ext uri="{FF2B5EF4-FFF2-40B4-BE49-F238E27FC236}">
                <a16:creationId xmlns:a16="http://schemas.microsoft.com/office/drawing/2014/main" id="{BFA62D5B-8DA9-4C9A-B17E-DE90AEBC6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3416" y="2315296"/>
            <a:ext cx="174715" cy="145032"/>
          </a:xfrm>
          <a:custGeom>
            <a:avLst/>
            <a:gdLst>
              <a:gd name="connsiteX0" fmla="*/ 92404 w 672526"/>
              <a:gd name="connsiteY0" fmla="*/ 0 h 671763"/>
              <a:gd name="connsiteX1" fmla="*/ 157940 w 672526"/>
              <a:gd name="connsiteY1" fmla="*/ 26977 h 671763"/>
              <a:gd name="connsiteX2" fmla="*/ 336263 w 672526"/>
              <a:gd name="connsiteY2" fmla="*/ 205079 h 671763"/>
              <a:gd name="connsiteX3" fmla="*/ 514585 w 672526"/>
              <a:gd name="connsiteY3" fmla="*/ 26977 h 671763"/>
              <a:gd name="connsiteX4" fmla="*/ 645526 w 672526"/>
              <a:gd name="connsiteY4" fmla="*/ 26977 h 671763"/>
              <a:gd name="connsiteX5" fmla="*/ 645526 w 672526"/>
              <a:gd name="connsiteY5" fmla="*/ 157803 h 671763"/>
              <a:gd name="connsiteX6" fmla="*/ 467227 w 672526"/>
              <a:gd name="connsiteY6" fmla="*/ 335882 h 671763"/>
              <a:gd name="connsiteX7" fmla="*/ 645526 w 672526"/>
              <a:gd name="connsiteY7" fmla="*/ 513961 h 671763"/>
              <a:gd name="connsiteX8" fmla="*/ 645526 w 672526"/>
              <a:gd name="connsiteY8" fmla="*/ 644787 h 671763"/>
              <a:gd name="connsiteX9" fmla="*/ 514585 w 672526"/>
              <a:gd name="connsiteY9" fmla="*/ 644787 h 671763"/>
              <a:gd name="connsiteX10" fmla="*/ 336263 w 672526"/>
              <a:gd name="connsiteY10" fmla="*/ 466685 h 671763"/>
              <a:gd name="connsiteX11" fmla="*/ 157940 w 672526"/>
              <a:gd name="connsiteY11" fmla="*/ 644787 h 671763"/>
              <a:gd name="connsiteX12" fmla="*/ 27000 w 672526"/>
              <a:gd name="connsiteY12" fmla="*/ 644787 h 671763"/>
              <a:gd name="connsiteX13" fmla="*/ 27000 w 672526"/>
              <a:gd name="connsiteY13" fmla="*/ 513961 h 671763"/>
              <a:gd name="connsiteX14" fmla="*/ 205299 w 672526"/>
              <a:gd name="connsiteY14" fmla="*/ 335882 h 671763"/>
              <a:gd name="connsiteX15" fmla="*/ 27000 w 672526"/>
              <a:gd name="connsiteY15" fmla="*/ 157803 h 671763"/>
              <a:gd name="connsiteX16" fmla="*/ 27000 w 672526"/>
              <a:gd name="connsiteY16" fmla="*/ 26977 h 671763"/>
              <a:gd name="connsiteX17" fmla="*/ 92404 w 672526"/>
              <a:gd name="connsiteY17" fmla="*/ 0 h 671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2526" h="671763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8" name="Freeform 7">
            <a:extLst>
              <a:ext uri="{FF2B5EF4-FFF2-40B4-BE49-F238E27FC236}">
                <a16:creationId xmlns:a16="http://schemas.microsoft.com/office/drawing/2014/main" id="{0AFD8B7B-D64A-4263-AB99-A1DE429506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1649" y="2315296"/>
            <a:ext cx="174715" cy="145032"/>
          </a:xfrm>
          <a:custGeom>
            <a:avLst/>
            <a:gdLst>
              <a:gd name="connsiteX0" fmla="*/ 92404 w 672526"/>
              <a:gd name="connsiteY0" fmla="*/ 0 h 671763"/>
              <a:gd name="connsiteX1" fmla="*/ 157940 w 672526"/>
              <a:gd name="connsiteY1" fmla="*/ 26977 h 671763"/>
              <a:gd name="connsiteX2" fmla="*/ 336263 w 672526"/>
              <a:gd name="connsiteY2" fmla="*/ 205079 h 671763"/>
              <a:gd name="connsiteX3" fmla="*/ 514585 w 672526"/>
              <a:gd name="connsiteY3" fmla="*/ 26977 h 671763"/>
              <a:gd name="connsiteX4" fmla="*/ 645526 w 672526"/>
              <a:gd name="connsiteY4" fmla="*/ 26977 h 671763"/>
              <a:gd name="connsiteX5" fmla="*/ 645526 w 672526"/>
              <a:gd name="connsiteY5" fmla="*/ 157803 h 671763"/>
              <a:gd name="connsiteX6" fmla="*/ 467227 w 672526"/>
              <a:gd name="connsiteY6" fmla="*/ 335882 h 671763"/>
              <a:gd name="connsiteX7" fmla="*/ 645526 w 672526"/>
              <a:gd name="connsiteY7" fmla="*/ 513961 h 671763"/>
              <a:gd name="connsiteX8" fmla="*/ 645526 w 672526"/>
              <a:gd name="connsiteY8" fmla="*/ 644787 h 671763"/>
              <a:gd name="connsiteX9" fmla="*/ 514585 w 672526"/>
              <a:gd name="connsiteY9" fmla="*/ 644787 h 671763"/>
              <a:gd name="connsiteX10" fmla="*/ 336263 w 672526"/>
              <a:gd name="connsiteY10" fmla="*/ 466685 h 671763"/>
              <a:gd name="connsiteX11" fmla="*/ 157940 w 672526"/>
              <a:gd name="connsiteY11" fmla="*/ 644787 h 671763"/>
              <a:gd name="connsiteX12" fmla="*/ 27000 w 672526"/>
              <a:gd name="connsiteY12" fmla="*/ 644787 h 671763"/>
              <a:gd name="connsiteX13" fmla="*/ 27000 w 672526"/>
              <a:gd name="connsiteY13" fmla="*/ 513961 h 671763"/>
              <a:gd name="connsiteX14" fmla="*/ 205299 w 672526"/>
              <a:gd name="connsiteY14" fmla="*/ 335882 h 671763"/>
              <a:gd name="connsiteX15" fmla="*/ 27000 w 672526"/>
              <a:gd name="connsiteY15" fmla="*/ 157803 h 671763"/>
              <a:gd name="connsiteX16" fmla="*/ 27000 w 672526"/>
              <a:gd name="connsiteY16" fmla="*/ 26977 h 671763"/>
              <a:gd name="connsiteX17" fmla="*/ 92404 w 672526"/>
              <a:gd name="connsiteY17" fmla="*/ 0 h 671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2526" h="671763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877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929">
            <a:extLst>
              <a:ext uri="{FF2B5EF4-FFF2-40B4-BE49-F238E27FC236}">
                <a16:creationId xmlns:a16="http://schemas.microsoft.com/office/drawing/2014/main" id="{7A5A1492-6A71-324F-B830-69F7CC5D18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1352686"/>
              </p:ext>
            </p:extLst>
          </p:nvPr>
        </p:nvGraphicFramePr>
        <p:xfrm>
          <a:off x="2489766" y="1486963"/>
          <a:ext cx="2188497" cy="2188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hape 930">
            <a:extLst>
              <a:ext uri="{FF2B5EF4-FFF2-40B4-BE49-F238E27FC236}">
                <a16:creationId xmlns:a16="http://schemas.microsoft.com/office/drawing/2014/main" id="{8D2A17C8-032B-EA45-9F38-7BF852C0A4C5}"/>
              </a:ext>
            </a:extLst>
          </p:cNvPr>
          <p:cNvSpPr/>
          <p:nvPr/>
        </p:nvSpPr>
        <p:spPr>
          <a:xfrm>
            <a:off x="2951299" y="1948496"/>
            <a:ext cx="1265431" cy="1265431"/>
          </a:xfrm>
          <a:prstGeom prst="ellipse">
            <a:avLst/>
          </a:prstGeom>
          <a:solidFill>
            <a:schemeClr val="bg1">
              <a:lumMod val="95000"/>
              <a:alpha val="99000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endParaRPr sz="1424" dirty="0">
              <a:latin typeface="Lato Light" panose="020F050202020403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B00768B-CCDB-4B87-8291-A944B5AC84D0}"/>
              </a:ext>
            </a:extLst>
          </p:cNvPr>
          <p:cNvSpPr/>
          <p:nvPr/>
        </p:nvSpPr>
        <p:spPr>
          <a:xfrm>
            <a:off x="817520" y="43103"/>
            <a:ext cx="61069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20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оговор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уги по поддержанию готовности электрической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ощности</a:t>
            </a:r>
            <a:endParaRPr lang="ru-RU" sz="20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Flowchart: Decision 37">
            <a:extLst>
              <a:ext uri="{FF2B5EF4-FFF2-40B4-BE49-F238E27FC236}">
                <a16:creationId xmlns:a16="http://schemas.microsoft.com/office/drawing/2014/main" id="{BA72C30E-58F0-4C54-A0F9-634DC6A53AEA}"/>
              </a:ext>
            </a:extLst>
          </p:cNvPr>
          <p:cNvSpPr/>
          <p:nvPr/>
        </p:nvSpPr>
        <p:spPr>
          <a:xfrm>
            <a:off x="115263" y="925715"/>
            <a:ext cx="161690" cy="161689"/>
          </a:xfrm>
          <a:prstGeom prst="flowChartDecision">
            <a:avLst/>
          </a:prstGeom>
          <a:solidFill>
            <a:srgbClr val="2683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50FEF1C7-E22A-423E-9322-E17228E98157}"/>
              </a:ext>
            </a:extLst>
          </p:cNvPr>
          <p:cNvSpPr txBox="1">
            <a:spLocks/>
          </p:cNvSpPr>
          <p:nvPr/>
        </p:nvSpPr>
        <p:spPr>
          <a:xfrm>
            <a:off x="4917313" y="1715763"/>
            <a:ext cx="1625227" cy="533807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ключается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 победителем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укционных торгов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3" name="Flowchart: Decision 42">
            <a:extLst>
              <a:ext uri="{FF2B5EF4-FFF2-40B4-BE49-F238E27FC236}">
                <a16:creationId xmlns:a16="http://schemas.microsoft.com/office/drawing/2014/main" id="{F5BF3917-1B47-4D6E-AB80-0D44B6ADD38F}"/>
              </a:ext>
            </a:extLst>
          </p:cNvPr>
          <p:cNvSpPr/>
          <p:nvPr/>
        </p:nvSpPr>
        <p:spPr>
          <a:xfrm>
            <a:off x="4697127" y="1758528"/>
            <a:ext cx="161690" cy="161689"/>
          </a:xfrm>
          <a:prstGeom prst="flowChartDecision">
            <a:avLst/>
          </a:prstGeom>
          <a:solidFill>
            <a:srgbClr val="84AC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44" name="Flowchart: Decision 43">
            <a:extLst>
              <a:ext uri="{FF2B5EF4-FFF2-40B4-BE49-F238E27FC236}">
                <a16:creationId xmlns:a16="http://schemas.microsoft.com/office/drawing/2014/main" id="{8FCC1D7D-7620-43F4-BC1F-653415BB64F9}"/>
              </a:ext>
            </a:extLst>
          </p:cNvPr>
          <p:cNvSpPr/>
          <p:nvPr/>
        </p:nvSpPr>
        <p:spPr>
          <a:xfrm>
            <a:off x="4684435" y="948015"/>
            <a:ext cx="173318" cy="161689"/>
          </a:xfrm>
          <a:prstGeom prst="flowChartDecision">
            <a:avLst/>
          </a:prstGeom>
          <a:solidFill>
            <a:srgbClr val="7A8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29ACD24D-ABA2-4551-8BB3-263BB9028F89}"/>
              </a:ext>
            </a:extLst>
          </p:cNvPr>
          <p:cNvSpPr txBox="1">
            <a:spLocks/>
          </p:cNvSpPr>
          <p:nvPr/>
        </p:nvSpPr>
        <p:spPr>
          <a:xfrm>
            <a:off x="329894" y="1648391"/>
            <a:ext cx="2343865" cy="246035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ключается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5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лет</a:t>
            </a:r>
            <a:r>
              <a:rPr lang="kk-KZ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</p:txBody>
      </p:sp>
      <p:sp>
        <p:nvSpPr>
          <p:cNvPr id="49" name="Flowchart: Decision 48">
            <a:extLst>
              <a:ext uri="{FF2B5EF4-FFF2-40B4-BE49-F238E27FC236}">
                <a16:creationId xmlns:a16="http://schemas.microsoft.com/office/drawing/2014/main" id="{89D60039-8839-4A7E-A4A9-811115247101}"/>
              </a:ext>
            </a:extLst>
          </p:cNvPr>
          <p:cNvSpPr/>
          <p:nvPr/>
        </p:nvSpPr>
        <p:spPr>
          <a:xfrm>
            <a:off x="4684435" y="2347399"/>
            <a:ext cx="179984" cy="161689"/>
          </a:xfrm>
          <a:prstGeom prst="flowChartDecision">
            <a:avLst/>
          </a:prstGeom>
          <a:solidFill>
            <a:srgbClr val="58B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D193AEA-210F-44B8-8732-2CD608DB8972}"/>
              </a:ext>
            </a:extLst>
          </p:cNvPr>
          <p:cNvSpPr/>
          <p:nvPr/>
        </p:nvSpPr>
        <p:spPr>
          <a:xfrm>
            <a:off x="4851068" y="2262907"/>
            <a:ext cx="266371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торгов предоставляет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</a:t>
            </a:r>
            <a:b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е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исполнения</a:t>
            </a:r>
            <a:b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условий договора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2" name="Freeform 4847">
            <a:extLst>
              <a:ext uri="{FF2B5EF4-FFF2-40B4-BE49-F238E27FC236}">
                <a16:creationId xmlns:a16="http://schemas.microsoft.com/office/drawing/2014/main" id="{E3205773-FFEA-4556-9B2C-AD983FD34314}"/>
              </a:ext>
            </a:extLst>
          </p:cNvPr>
          <p:cNvSpPr>
            <a:spLocks noEditPoints="1"/>
          </p:cNvSpPr>
          <p:nvPr/>
        </p:nvSpPr>
        <p:spPr bwMode="auto">
          <a:xfrm>
            <a:off x="3010147" y="1732199"/>
            <a:ext cx="246854" cy="267127"/>
          </a:xfrm>
          <a:custGeom>
            <a:avLst/>
            <a:gdLst>
              <a:gd name="T0" fmla="*/ 252 w 252"/>
              <a:gd name="T1" fmla="*/ 332 h 348"/>
              <a:gd name="T2" fmla="*/ 242 w 252"/>
              <a:gd name="T3" fmla="*/ 346 h 348"/>
              <a:gd name="T4" fmla="*/ 16 w 252"/>
              <a:gd name="T5" fmla="*/ 348 h 348"/>
              <a:gd name="T6" fmla="*/ 2 w 252"/>
              <a:gd name="T7" fmla="*/ 338 h 348"/>
              <a:gd name="T8" fmla="*/ 0 w 252"/>
              <a:gd name="T9" fmla="*/ 32 h 348"/>
              <a:gd name="T10" fmla="*/ 10 w 252"/>
              <a:gd name="T11" fmla="*/ 16 h 348"/>
              <a:gd name="T12" fmla="*/ 90 w 252"/>
              <a:gd name="T13" fmla="*/ 16 h 348"/>
              <a:gd name="T14" fmla="*/ 86 w 252"/>
              <a:gd name="T15" fmla="*/ 30 h 348"/>
              <a:gd name="T16" fmla="*/ 16 w 252"/>
              <a:gd name="T17" fmla="*/ 332 h 348"/>
              <a:gd name="T18" fmla="*/ 168 w 252"/>
              <a:gd name="T19" fmla="*/ 34 h 348"/>
              <a:gd name="T20" fmla="*/ 164 w 252"/>
              <a:gd name="T21" fmla="*/ 26 h 348"/>
              <a:gd name="T22" fmla="*/ 236 w 252"/>
              <a:gd name="T23" fmla="*/ 16 h 348"/>
              <a:gd name="T24" fmla="*/ 248 w 252"/>
              <a:gd name="T25" fmla="*/ 20 h 348"/>
              <a:gd name="T26" fmla="*/ 252 w 252"/>
              <a:gd name="T27" fmla="*/ 32 h 348"/>
              <a:gd name="T28" fmla="*/ 36 w 252"/>
              <a:gd name="T29" fmla="*/ 312 h 348"/>
              <a:gd name="T30" fmla="*/ 36 w 252"/>
              <a:gd name="T31" fmla="*/ 94 h 348"/>
              <a:gd name="T32" fmla="*/ 216 w 252"/>
              <a:gd name="T33" fmla="*/ 94 h 348"/>
              <a:gd name="T34" fmla="*/ 132 w 252"/>
              <a:gd name="T35" fmla="*/ 186 h 348"/>
              <a:gd name="T36" fmla="*/ 122 w 252"/>
              <a:gd name="T37" fmla="*/ 184 h 348"/>
              <a:gd name="T38" fmla="*/ 74 w 252"/>
              <a:gd name="T39" fmla="*/ 206 h 348"/>
              <a:gd name="T40" fmla="*/ 68 w 252"/>
              <a:gd name="T41" fmla="*/ 204 h 348"/>
              <a:gd name="T42" fmla="*/ 60 w 252"/>
              <a:gd name="T43" fmla="*/ 206 h 348"/>
              <a:gd name="T44" fmla="*/ 58 w 252"/>
              <a:gd name="T45" fmla="*/ 218 h 348"/>
              <a:gd name="T46" fmla="*/ 78 w 252"/>
              <a:gd name="T47" fmla="*/ 238 h 348"/>
              <a:gd name="T48" fmla="*/ 86 w 252"/>
              <a:gd name="T49" fmla="*/ 242 h 348"/>
              <a:gd name="T50" fmla="*/ 132 w 252"/>
              <a:gd name="T51" fmla="*/ 200 h 348"/>
              <a:gd name="T52" fmla="*/ 134 w 252"/>
              <a:gd name="T53" fmla="*/ 192 h 348"/>
              <a:gd name="T54" fmla="*/ 132 w 252"/>
              <a:gd name="T55" fmla="*/ 186 h 348"/>
              <a:gd name="T56" fmla="*/ 128 w 252"/>
              <a:gd name="T57" fmla="*/ 122 h 348"/>
              <a:gd name="T58" fmla="*/ 118 w 252"/>
              <a:gd name="T59" fmla="*/ 124 h 348"/>
              <a:gd name="T60" fmla="*/ 74 w 252"/>
              <a:gd name="T61" fmla="*/ 144 h 348"/>
              <a:gd name="T62" fmla="*/ 64 w 252"/>
              <a:gd name="T63" fmla="*/ 142 h 348"/>
              <a:gd name="T64" fmla="*/ 58 w 252"/>
              <a:gd name="T65" fmla="*/ 148 h 348"/>
              <a:gd name="T66" fmla="*/ 60 w 252"/>
              <a:gd name="T67" fmla="*/ 158 h 348"/>
              <a:gd name="T68" fmla="*/ 82 w 252"/>
              <a:gd name="T69" fmla="*/ 180 h 348"/>
              <a:gd name="T70" fmla="*/ 90 w 252"/>
              <a:gd name="T71" fmla="*/ 180 h 348"/>
              <a:gd name="T72" fmla="*/ 132 w 252"/>
              <a:gd name="T73" fmla="*/ 138 h 348"/>
              <a:gd name="T74" fmla="*/ 134 w 252"/>
              <a:gd name="T75" fmla="*/ 126 h 348"/>
              <a:gd name="T76" fmla="*/ 36 w 252"/>
              <a:gd name="T77" fmla="*/ 64 h 348"/>
              <a:gd name="T78" fmla="*/ 40 w 252"/>
              <a:gd name="T79" fmla="*/ 54 h 348"/>
              <a:gd name="T80" fmla="*/ 78 w 252"/>
              <a:gd name="T81" fmla="*/ 48 h 348"/>
              <a:gd name="T82" fmla="*/ 94 w 252"/>
              <a:gd name="T83" fmla="*/ 42 h 348"/>
              <a:gd name="T84" fmla="*/ 100 w 252"/>
              <a:gd name="T85" fmla="*/ 26 h 348"/>
              <a:gd name="T86" fmla="*/ 116 w 252"/>
              <a:gd name="T87" fmla="*/ 2 h 348"/>
              <a:gd name="T88" fmla="*/ 136 w 252"/>
              <a:gd name="T89" fmla="*/ 2 h 348"/>
              <a:gd name="T90" fmla="*/ 152 w 252"/>
              <a:gd name="T91" fmla="*/ 26 h 348"/>
              <a:gd name="T92" fmla="*/ 158 w 252"/>
              <a:gd name="T93" fmla="*/ 42 h 348"/>
              <a:gd name="T94" fmla="*/ 200 w 252"/>
              <a:gd name="T95" fmla="*/ 48 h 348"/>
              <a:gd name="T96" fmla="*/ 212 w 252"/>
              <a:gd name="T97" fmla="*/ 54 h 348"/>
              <a:gd name="T98" fmla="*/ 216 w 252"/>
              <a:gd name="T99" fmla="*/ 78 h 348"/>
              <a:gd name="T100" fmla="*/ 36 w 252"/>
              <a:gd name="T101" fmla="*/ 82 h 348"/>
              <a:gd name="T102" fmla="*/ 36 w 252"/>
              <a:gd name="T103" fmla="*/ 64 h 348"/>
              <a:gd name="T104" fmla="*/ 116 w 252"/>
              <a:gd name="T105" fmla="*/ 30 h 348"/>
              <a:gd name="T106" fmla="*/ 126 w 252"/>
              <a:gd name="T107" fmla="*/ 38 h 348"/>
              <a:gd name="T108" fmla="*/ 134 w 252"/>
              <a:gd name="T109" fmla="*/ 34 h 348"/>
              <a:gd name="T110" fmla="*/ 136 w 252"/>
              <a:gd name="T111" fmla="*/ 26 h 348"/>
              <a:gd name="T112" fmla="*/ 130 w 252"/>
              <a:gd name="T113" fmla="*/ 16 h 348"/>
              <a:gd name="T114" fmla="*/ 122 w 252"/>
              <a:gd name="T115" fmla="*/ 16 h 348"/>
              <a:gd name="T116" fmla="*/ 116 w 252"/>
              <a:gd name="T117" fmla="*/ 26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2" h="348">
                <a:moveTo>
                  <a:pt x="252" y="32"/>
                </a:moveTo>
                <a:lnTo>
                  <a:pt x="252" y="332"/>
                </a:lnTo>
                <a:lnTo>
                  <a:pt x="252" y="332"/>
                </a:lnTo>
                <a:lnTo>
                  <a:pt x="250" y="338"/>
                </a:lnTo>
                <a:lnTo>
                  <a:pt x="248" y="344"/>
                </a:lnTo>
                <a:lnTo>
                  <a:pt x="242" y="346"/>
                </a:lnTo>
                <a:lnTo>
                  <a:pt x="236" y="348"/>
                </a:lnTo>
                <a:lnTo>
                  <a:pt x="16" y="348"/>
                </a:lnTo>
                <a:lnTo>
                  <a:pt x="16" y="348"/>
                </a:lnTo>
                <a:lnTo>
                  <a:pt x="10" y="346"/>
                </a:lnTo>
                <a:lnTo>
                  <a:pt x="4" y="344"/>
                </a:lnTo>
                <a:lnTo>
                  <a:pt x="2" y="338"/>
                </a:lnTo>
                <a:lnTo>
                  <a:pt x="0" y="332"/>
                </a:lnTo>
                <a:lnTo>
                  <a:pt x="0" y="32"/>
                </a:lnTo>
                <a:lnTo>
                  <a:pt x="0" y="32"/>
                </a:lnTo>
                <a:lnTo>
                  <a:pt x="2" y="26"/>
                </a:lnTo>
                <a:lnTo>
                  <a:pt x="4" y="20"/>
                </a:lnTo>
                <a:lnTo>
                  <a:pt x="10" y="16"/>
                </a:lnTo>
                <a:lnTo>
                  <a:pt x="16" y="16"/>
                </a:lnTo>
                <a:lnTo>
                  <a:pt x="90" y="16"/>
                </a:lnTo>
                <a:lnTo>
                  <a:pt x="90" y="16"/>
                </a:lnTo>
                <a:lnTo>
                  <a:pt x="88" y="26"/>
                </a:lnTo>
                <a:lnTo>
                  <a:pt x="88" y="26"/>
                </a:lnTo>
                <a:lnTo>
                  <a:pt x="86" y="30"/>
                </a:lnTo>
                <a:lnTo>
                  <a:pt x="84" y="34"/>
                </a:lnTo>
                <a:lnTo>
                  <a:pt x="16" y="34"/>
                </a:lnTo>
                <a:lnTo>
                  <a:pt x="16" y="332"/>
                </a:lnTo>
                <a:lnTo>
                  <a:pt x="236" y="332"/>
                </a:lnTo>
                <a:lnTo>
                  <a:pt x="236" y="34"/>
                </a:lnTo>
                <a:lnTo>
                  <a:pt x="168" y="34"/>
                </a:lnTo>
                <a:lnTo>
                  <a:pt x="168" y="34"/>
                </a:lnTo>
                <a:lnTo>
                  <a:pt x="166" y="30"/>
                </a:lnTo>
                <a:lnTo>
                  <a:pt x="164" y="26"/>
                </a:lnTo>
                <a:lnTo>
                  <a:pt x="164" y="26"/>
                </a:lnTo>
                <a:lnTo>
                  <a:pt x="162" y="16"/>
                </a:lnTo>
                <a:lnTo>
                  <a:pt x="236" y="16"/>
                </a:lnTo>
                <a:lnTo>
                  <a:pt x="236" y="16"/>
                </a:lnTo>
                <a:lnTo>
                  <a:pt x="242" y="16"/>
                </a:lnTo>
                <a:lnTo>
                  <a:pt x="248" y="20"/>
                </a:lnTo>
                <a:lnTo>
                  <a:pt x="250" y="26"/>
                </a:lnTo>
                <a:lnTo>
                  <a:pt x="252" y="32"/>
                </a:lnTo>
                <a:lnTo>
                  <a:pt x="252" y="32"/>
                </a:lnTo>
                <a:close/>
                <a:moveTo>
                  <a:pt x="216" y="94"/>
                </a:moveTo>
                <a:lnTo>
                  <a:pt x="216" y="312"/>
                </a:lnTo>
                <a:lnTo>
                  <a:pt x="36" y="312"/>
                </a:lnTo>
                <a:lnTo>
                  <a:pt x="36" y="94"/>
                </a:lnTo>
                <a:lnTo>
                  <a:pt x="36" y="94"/>
                </a:lnTo>
                <a:lnTo>
                  <a:pt x="3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close/>
                <a:moveTo>
                  <a:pt x="132" y="186"/>
                </a:moveTo>
                <a:lnTo>
                  <a:pt x="132" y="186"/>
                </a:lnTo>
                <a:lnTo>
                  <a:pt x="128" y="184"/>
                </a:lnTo>
                <a:lnTo>
                  <a:pt x="124" y="182"/>
                </a:lnTo>
                <a:lnTo>
                  <a:pt x="122" y="184"/>
                </a:lnTo>
                <a:lnTo>
                  <a:pt x="118" y="186"/>
                </a:lnTo>
                <a:lnTo>
                  <a:pt x="86" y="218"/>
                </a:lnTo>
                <a:lnTo>
                  <a:pt x="74" y="206"/>
                </a:lnTo>
                <a:lnTo>
                  <a:pt x="74" y="206"/>
                </a:lnTo>
                <a:lnTo>
                  <a:pt x="70" y="204"/>
                </a:lnTo>
                <a:lnTo>
                  <a:pt x="68" y="204"/>
                </a:lnTo>
                <a:lnTo>
                  <a:pt x="64" y="204"/>
                </a:lnTo>
                <a:lnTo>
                  <a:pt x="60" y="206"/>
                </a:lnTo>
                <a:lnTo>
                  <a:pt x="60" y="206"/>
                </a:lnTo>
                <a:lnTo>
                  <a:pt x="58" y="210"/>
                </a:lnTo>
                <a:lnTo>
                  <a:pt x="58" y="214"/>
                </a:lnTo>
                <a:lnTo>
                  <a:pt x="58" y="218"/>
                </a:lnTo>
                <a:lnTo>
                  <a:pt x="60" y="220"/>
                </a:lnTo>
                <a:lnTo>
                  <a:pt x="78" y="238"/>
                </a:lnTo>
                <a:lnTo>
                  <a:pt x="78" y="238"/>
                </a:lnTo>
                <a:lnTo>
                  <a:pt x="82" y="242"/>
                </a:lnTo>
                <a:lnTo>
                  <a:pt x="86" y="242"/>
                </a:lnTo>
                <a:lnTo>
                  <a:pt x="86" y="242"/>
                </a:lnTo>
                <a:lnTo>
                  <a:pt x="90" y="242"/>
                </a:lnTo>
                <a:lnTo>
                  <a:pt x="92" y="238"/>
                </a:lnTo>
                <a:lnTo>
                  <a:pt x="132" y="200"/>
                </a:lnTo>
                <a:lnTo>
                  <a:pt x="132" y="200"/>
                </a:lnTo>
                <a:lnTo>
                  <a:pt x="134" y="196"/>
                </a:lnTo>
                <a:lnTo>
                  <a:pt x="134" y="192"/>
                </a:lnTo>
                <a:lnTo>
                  <a:pt x="134" y="188"/>
                </a:lnTo>
                <a:lnTo>
                  <a:pt x="132" y="186"/>
                </a:lnTo>
                <a:lnTo>
                  <a:pt x="132" y="186"/>
                </a:lnTo>
                <a:close/>
                <a:moveTo>
                  <a:pt x="132" y="124"/>
                </a:moveTo>
                <a:lnTo>
                  <a:pt x="132" y="124"/>
                </a:lnTo>
                <a:lnTo>
                  <a:pt x="128" y="122"/>
                </a:lnTo>
                <a:lnTo>
                  <a:pt x="124" y="120"/>
                </a:lnTo>
                <a:lnTo>
                  <a:pt x="122" y="122"/>
                </a:lnTo>
                <a:lnTo>
                  <a:pt x="118" y="124"/>
                </a:lnTo>
                <a:lnTo>
                  <a:pt x="86" y="156"/>
                </a:lnTo>
                <a:lnTo>
                  <a:pt x="74" y="144"/>
                </a:lnTo>
                <a:lnTo>
                  <a:pt x="74" y="144"/>
                </a:lnTo>
                <a:lnTo>
                  <a:pt x="70" y="142"/>
                </a:lnTo>
                <a:lnTo>
                  <a:pt x="68" y="142"/>
                </a:lnTo>
                <a:lnTo>
                  <a:pt x="64" y="142"/>
                </a:lnTo>
                <a:lnTo>
                  <a:pt x="60" y="144"/>
                </a:lnTo>
                <a:lnTo>
                  <a:pt x="60" y="144"/>
                </a:lnTo>
                <a:lnTo>
                  <a:pt x="58" y="148"/>
                </a:lnTo>
                <a:lnTo>
                  <a:pt x="58" y="152"/>
                </a:lnTo>
                <a:lnTo>
                  <a:pt x="58" y="156"/>
                </a:lnTo>
                <a:lnTo>
                  <a:pt x="60" y="158"/>
                </a:lnTo>
                <a:lnTo>
                  <a:pt x="78" y="178"/>
                </a:lnTo>
                <a:lnTo>
                  <a:pt x="78" y="178"/>
                </a:lnTo>
                <a:lnTo>
                  <a:pt x="82" y="180"/>
                </a:lnTo>
                <a:lnTo>
                  <a:pt x="86" y="180"/>
                </a:lnTo>
                <a:lnTo>
                  <a:pt x="86" y="180"/>
                </a:lnTo>
                <a:lnTo>
                  <a:pt x="90" y="180"/>
                </a:lnTo>
                <a:lnTo>
                  <a:pt x="92" y="178"/>
                </a:lnTo>
                <a:lnTo>
                  <a:pt x="132" y="138"/>
                </a:lnTo>
                <a:lnTo>
                  <a:pt x="132" y="138"/>
                </a:lnTo>
                <a:lnTo>
                  <a:pt x="134" y="134"/>
                </a:lnTo>
                <a:lnTo>
                  <a:pt x="134" y="130"/>
                </a:lnTo>
                <a:lnTo>
                  <a:pt x="134" y="126"/>
                </a:lnTo>
                <a:lnTo>
                  <a:pt x="132" y="124"/>
                </a:lnTo>
                <a:lnTo>
                  <a:pt x="132" y="124"/>
                </a:lnTo>
                <a:close/>
                <a:moveTo>
                  <a:pt x="36" y="64"/>
                </a:moveTo>
                <a:lnTo>
                  <a:pt x="36" y="64"/>
                </a:lnTo>
                <a:lnTo>
                  <a:pt x="36" y="58"/>
                </a:lnTo>
                <a:lnTo>
                  <a:pt x="40" y="54"/>
                </a:lnTo>
                <a:lnTo>
                  <a:pt x="46" y="50"/>
                </a:lnTo>
                <a:lnTo>
                  <a:pt x="52" y="48"/>
                </a:lnTo>
                <a:lnTo>
                  <a:pt x="78" y="48"/>
                </a:lnTo>
                <a:lnTo>
                  <a:pt x="78" y="48"/>
                </a:lnTo>
                <a:lnTo>
                  <a:pt x="86" y="46"/>
                </a:lnTo>
                <a:lnTo>
                  <a:pt x="94" y="42"/>
                </a:lnTo>
                <a:lnTo>
                  <a:pt x="98" y="36"/>
                </a:lnTo>
                <a:lnTo>
                  <a:pt x="100" y="26"/>
                </a:lnTo>
                <a:lnTo>
                  <a:pt x="100" y="26"/>
                </a:lnTo>
                <a:lnTo>
                  <a:pt x="102" y="16"/>
                </a:lnTo>
                <a:lnTo>
                  <a:pt x="108" y="8"/>
                </a:lnTo>
                <a:lnTo>
                  <a:pt x="116" y="2"/>
                </a:lnTo>
                <a:lnTo>
                  <a:pt x="126" y="0"/>
                </a:lnTo>
                <a:lnTo>
                  <a:pt x="126" y="0"/>
                </a:lnTo>
                <a:lnTo>
                  <a:pt x="136" y="2"/>
                </a:lnTo>
                <a:lnTo>
                  <a:pt x="144" y="8"/>
                </a:lnTo>
                <a:lnTo>
                  <a:pt x="150" y="16"/>
                </a:lnTo>
                <a:lnTo>
                  <a:pt x="152" y="26"/>
                </a:lnTo>
                <a:lnTo>
                  <a:pt x="152" y="26"/>
                </a:lnTo>
                <a:lnTo>
                  <a:pt x="154" y="36"/>
                </a:lnTo>
                <a:lnTo>
                  <a:pt x="158" y="42"/>
                </a:lnTo>
                <a:lnTo>
                  <a:pt x="166" y="46"/>
                </a:lnTo>
                <a:lnTo>
                  <a:pt x="174" y="48"/>
                </a:lnTo>
                <a:lnTo>
                  <a:pt x="200" y="48"/>
                </a:lnTo>
                <a:lnTo>
                  <a:pt x="200" y="48"/>
                </a:lnTo>
                <a:lnTo>
                  <a:pt x="206" y="50"/>
                </a:lnTo>
                <a:lnTo>
                  <a:pt x="212" y="54"/>
                </a:lnTo>
                <a:lnTo>
                  <a:pt x="216" y="58"/>
                </a:lnTo>
                <a:lnTo>
                  <a:pt x="216" y="64"/>
                </a:lnTo>
                <a:lnTo>
                  <a:pt x="216" y="78"/>
                </a:lnTo>
                <a:lnTo>
                  <a:pt x="216" y="78"/>
                </a:lnTo>
                <a:lnTo>
                  <a:pt x="216" y="82"/>
                </a:lnTo>
                <a:lnTo>
                  <a:pt x="36" y="82"/>
                </a:lnTo>
                <a:lnTo>
                  <a:pt x="36" y="82"/>
                </a:lnTo>
                <a:lnTo>
                  <a:pt x="36" y="78"/>
                </a:lnTo>
                <a:lnTo>
                  <a:pt x="36" y="64"/>
                </a:lnTo>
                <a:close/>
                <a:moveTo>
                  <a:pt x="116" y="26"/>
                </a:moveTo>
                <a:lnTo>
                  <a:pt x="116" y="26"/>
                </a:lnTo>
                <a:lnTo>
                  <a:pt x="116" y="30"/>
                </a:lnTo>
                <a:lnTo>
                  <a:pt x="118" y="34"/>
                </a:lnTo>
                <a:lnTo>
                  <a:pt x="122" y="36"/>
                </a:lnTo>
                <a:lnTo>
                  <a:pt x="126" y="38"/>
                </a:lnTo>
                <a:lnTo>
                  <a:pt x="126" y="38"/>
                </a:lnTo>
                <a:lnTo>
                  <a:pt x="130" y="36"/>
                </a:lnTo>
                <a:lnTo>
                  <a:pt x="134" y="34"/>
                </a:lnTo>
                <a:lnTo>
                  <a:pt x="136" y="30"/>
                </a:lnTo>
                <a:lnTo>
                  <a:pt x="136" y="26"/>
                </a:lnTo>
                <a:lnTo>
                  <a:pt x="136" y="26"/>
                </a:lnTo>
                <a:lnTo>
                  <a:pt x="136" y="22"/>
                </a:lnTo>
                <a:lnTo>
                  <a:pt x="134" y="20"/>
                </a:lnTo>
                <a:lnTo>
                  <a:pt x="130" y="16"/>
                </a:lnTo>
                <a:lnTo>
                  <a:pt x="126" y="16"/>
                </a:lnTo>
                <a:lnTo>
                  <a:pt x="126" y="16"/>
                </a:lnTo>
                <a:lnTo>
                  <a:pt x="122" y="16"/>
                </a:lnTo>
                <a:lnTo>
                  <a:pt x="118" y="20"/>
                </a:lnTo>
                <a:lnTo>
                  <a:pt x="116" y="22"/>
                </a:lnTo>
                <a:lnTo>
                  <a:pt x="116" y="26"/>
                </a:lnTo>
                <a:lnTo>
                  <a:pt x="116" y="2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Freeform 4917">
            <a:extLst>
              <a:ext uri="{FF2B5EF4-FFF2-40B4-BE49-F238E27FC236}">
                <a16:creationId xmlns:a16="http://schemas.microsoft.com/office/drawing/2014/main" id="{646E0E26-F6F7-4F44-818D-D5E600079AD3}"/>
              </a:ext>
            </a:extLst>
          </p:cNvPr>
          <p:cNvSpPr>
            <a:spLocks noEditPoints="1"/>
          </p:cNvSpPr>
          <p:nvPr/>
        </p:nvSpPr>
        <p:spPr bwMode="auto">
          <a:xfrm>
            <a:off x="2595980" y="2459421"/>
            <a:ext cx="257848" cy="285357"/>
          </a:xfrm>
          <a:custGeom>
            <a:avLst/>
            <a:gdLst>
              <a:gd name="T0" fmla="*/ 176 w 352"/>
              <a:gd name="T1" fmla="*/ 222 h 416"/>
              <a:gd name="T2" fmla="*/ 352 w 352"/>
              <a:gd name="T3" fmla="*/ 264 h 416"/>
              <a:gd name="T4" fmla="*/ 328 w 352"/>
              <a:gd name="T5" fmla="*/ 212 h 416"/>
              <a:gd name="T6" fmla="*/ 292 w 352"/>
              <a:gd name="T7" fmla="*/ 186 h 416"/>
              <a:gd name="T8" fmla="*/ 226 w 352"/>
              <a:gd name="T9" fmla="*/ 300 h 416"/>
              <a:gd name="T10" fmla="*/ 232 w 352"/>
              <a:gd name="T11" fmla="*/ 324 h 416"/>
              <a:gd name="T12" fmla="*/ 214 w 352"/>
              <a:gd name="T13" fmla="*/ 362 h 416"/>
              <a:gd name="T14" fmla="*/ 176 w 352"/>
              <a:gd name="T15" fmla="*/ 378 h 416"/>
              <a:gd name="T16" fmla="*/ 146 w 352"/>
              <a:gd name="T17" fmla="*/ 370 h 416"/>
              <a:gd name="T18" fmla="*/ 122 w 352"/>
              <a:gd name="T19" fmla="*/ 334 h 416"/>
              <a:gd name="T20" fmla="*/ 124 w 352"/>
              <a:gd name="T21" fmla="*/ 306 h 416"/>
              <a:gd name="T22" fmla="*/ 62 w 352"/>
              <a:gd name="T23" fmla="*/ 190 h 416"/>
              <a:gd name="T24" fmla="*/ 36 w 352"/>
              <a:gd name="T25" fmla="*/ 200 h 416"/>
              <a:gd name="T26" fmla="*/ 4 w 352"/>
              <a:gd name="T27" fmla="*/ 246 h 416"/>
              <a:gd name="T28" fmla="*/ 0 w 352"/>
              <a:gd name="T29" fmla="*/ 318 h 416"/>
              <a:gd name="T30" fmla="*/ 66 w 352"/>
              <a:gd name="T31" fmla="*/ 384 h 416"/>
              <a:gd name="T32" fmla="*/ 92 w 352"/>
              <a:gd name="T33" fmla="*/ 398 h 416"/>
              <a:gd name="T34" fmla="*/ 176 w 352"/>
              <a:gd name="T35" fmla="*/ 416 h 416"/>
              <a:gd name="T36" fmla="*/ 240 w 352"/>
              <a:gd name="T37" fmla="*/ 406 h 416"/>
              <a:gd name="T38" fmla="*/ 288 w 352"/>
              <a:gd name="T39" fmla="*/ 384 h 416"/>
              <a:gd name="T40" fmla="*/ 338 w 352"/>
              <a:gd name="T41" fmla="*/ 336 h 416"/>
              <a:gd name="T42" fmla="*/ 158 w 352"/>
              <a:gd name="T43" fmla="*/ 250 h 416"/>
              <a:gd name="T44" fmla="*/ 80 w 352"/>
              <a:gd name="T45" fmla="*/ 180 h 416"/>
              <a:gd name="T46" fmla="*/ 92 w 352"/>
              <a:gd name="T47" fmla="*/ 180 h 416"/>
              <a:gd name="T48" fmla="*/ 102 w 352"/>
              <a:gd name="T49" fmla="*/ 76 h 416"/>
              <a:gd name="T50" fmla="*/ 124 w 352"/>
              <a:gd name="T51" fmla="*/ 128 h 416"/>
              <a:gd name="T52" fmla="*/ 176 w 352"/>
              <a:gd name="T53" fmla="*/ 150 h 416"/>
              <a:gd name="T54" fmla="*/ 218 w 352"/>
              <a:gd name="T55" fmla="*/ 138 h 416"/>
              <a:gd name="T56" fmla="*/ 250 w 352"/>
              <a:gd name="T57" fmla="*/ 90 h 416"/>
              <a:gd name="T58" fmla="*/ 246 w 352"/>
              <a:gd name="T59" fmla="*/ 46 h 416"/>
              <a:gd name="T60" fmla="*/ 206 w 352"/>
              <a:gd name="T61" fmla="*/ 6 h 416"/>
              <a:gd name="T62" fmla="*/ 176 w 352"/>
              <a:gd name="T63" fmla="*/ 0 h 416"/>
              <a:gd name="T64" fmla="*/ 134 w 352"/>
              <a:gd name="T65" fmla="*/ 14 h 416"/>
              <a:gd name="T66" fmla="*/ 104 w 352"/>
              <a:gd name="T67" fmla="*/ 60 h 416"/>
              <a:gd name="T68" fmla="*/ 140 w 352"/>
              <a:gd name="T69" fmla="*/ 324 h 416"/>
              <a:gd name="T70" fmla="*/ 152 w 352"/>
              <a:gd name="T71" fmla="*/ 298 h 416"/>
              <a:gd name="T72" fmla="*/ 176 w 352"/>
              <a:gd name="T73" fmla="*/ 288 h 416"/>
              <a:gd name="T74" fmla="*/ 196 w 352"/>
              <a:gd name="T75" fmla="*/ 294 h 416"/>
              <a:gd name="T76" fmla="*/ 210 w 352"/>
              <a:gd name="T77" fmla="*/ 316 h 416"/>
              <a:gd name="T78" fmla="*/ 208 w 352"/>
              <a:gd name="T79" fmla="*/ 338 h 416"/>
              <a:gd name="T80" fmla="*/ 190 w 352"/>
              <a:gd name="T81" fmla="*/ 356 h 416"/>
              <a:gd name="T82" fmla="*/ 168 w 352"/>
              <a:gd name="T83" fmla="*/ 358 h 416"/>
              <a:gd name="T84" fmla="*/ 146 w 352"/>
              <a:gd name="T85" fmla="*/ 344 h 416"/>
              <a:gd name="T86" fmla="*/ 140 w 352"/>
              <a:gd name="T87" fmla="*/ 324 h 416"/>
              <a:gd name="T88" fmla="*/ 168 w 352"/>
              <a:gd name="T89" fmla="*/ 344 h 416"/>
              <a:gd name="T90" fmla="*/ 180 w 352"/>
              <a:gd name="T91" fmla="*/ 346 h 416"/>
              <a:gd name="T92" fmla="*/ 186 w 352"/>
              <a:gd name="T93" fmla="*/ 310 h 416"/>
              <a:gd name="T94" fmla="*/ 180 w 352"/>
              <a:gd name="T95" fmla="*/ 302 h 416"/>
              <a:gd name="T96" fmla="*/ 168 w 352"/>
              <a:gd name="T97" fmla="*/ 304 h 416"/>
              <a:gd name="T98" fmla="*/ 254 w 352"/>
              <a:gd name="T99" fmla="*/ 178 h 416"/>
              <a:gd name="T100" fmla="*/ 176 w 352"/>
              <a:gd name="T101" fmla="*/ 258 h 416"/>
              <a:gd name="T102" fmla="*/ 176 w 352"/>
              <a:gd name="T103" fmla="*/ 268 h 416"/>
              <a:gd name="T104" fmla="*/ 272 w 352"/>
              <a:gd name="T105" fmla="*/ 180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2" h="416">
                <a:moveTo>
                  <a:pt x="176" y="222"/>
                </a:moveTo>
                <a:lnTo>
                  <a:pt x="146" y="178"/>
                </a:lnTo>
                <a:lnTo>
                  <a:pt x="206" y="178"/>
                </a:lnTo>
                <a:lnTo>
                  <a:pt x="176" y="222"/>
                </a:lnTo>
                <a:close/>
                <a:moveTo>
                  <a:pt x="352" y="318"/>
                </a:moveTo>
                <a:lnTo>
                  <a:pt x="352" y="278"/>
                </a:lnTo>
                <a:lnTo>
                  <a:pt x="352" y="278"/>
                </a:lnTo>
                <a:lnTo>
                  <a:pt x="352" y="264"/>
                </a:lnTo>
                <a:lnTo>
                  <a:pt x="348" y="250"/>
                </a:lnTo>
                <a:lnTo>
                  <a:pt x="342" y="236"/>
                </a:lnTo>
                <a:lnTo>
                  <a:pt x="336" y="224"/>
                </a:lnTo>
                <a:lnTo>
                  <a:pt x="328" y="212"/>
                </a:lnTo>
                <a:lnTo>
                  <a:pt x="316" y="202"/>
                </a:lnTo>
                <a:lnTo>
                  <a:pt x="304" y="192"/>
                </a:lnTo>
                <a:lnTo>
                  <a:pt x="292" y="186"/>
                </a:lnTo>
                <a:lnTo>
                  <a:pt x="292" y="186"/>
                </a:lnTo>
                <a:lnTo>
                  <a:pt x="290" y="190"/>
                </a:lnTo>
                <a:lnTo>
                  <a:pt x="222" y="292"/>
                </a:lnTo>
                <a:lnTo>
                  <a:pt x="222" y="292"/>
                </a:lnTo>
                <a:lnTo>
                  <a:pt x="226" y="300"/>
                </a:lnTo>
                <a:lnTo>
                  <a:pt x="228" y="306"/>
                </a:lnTo>
                <a:lnTo>
                  <a:pt x="230" y="314"/>
                </a:lnTo>
                <a:lnTo>
                  <a:pt x="232" y="324"/>
                </a:lnTo>
                <a:lnTo>
                  <a:pt x="232" y="324"/>
                </a:lnTo>
                <a:lnTo>
                  <a:pt x="230" y="334"/>
                </a:lnTo>
                <a:lnTo>
                  <a:pt x="226" y="344"/>
                </a:lnTo>
                <a:lnTo>
                  <a:pt x="222" y="354"/>
                </a:lnTo>
                <a:lnTo>
                  <a:pt x="214" y="362"/>
                </a:lnTo>
                <a:lnTo>
                  <a:pt x="206" y="370"/>
                </a:lnTo>
                <a:lnTo>
                  <a:pt x="198" y="374"/>
                </a:lnTo>
                <a:lnTo>
                  <a:pt x="188" y="378"/>
                </a:lnTo>
                <a:lnTo>
                  <a:pt x="176" y="378"/>
                </a:lnTo>
                <a:lnTo>
                  <a:pt x="176" y="378"/>
                </a:lnTo>
                <a:lnTo>
                  <a:pt x="164" y="378"/>
                </a:lnTo>
                <a:lnTo>
                  <a:pt x="154" y="374"/>
                </a:lnTo>
                <a:lnTo>
                  <a:pt x="146" y="370"/>
                </a:lnTo>
                <a:lnTo>
                  <a:pt x="138" y="362"/>
                </a:lnTo>
                <a:lnTo>
                  <a:pt x="130" y="354"/>
                </a:lnTo>
                <a:lnTo>
                  <a:pt x="126" y="344"/>
                </a:lnTo>
                <a:lnTo>
                  <a:pt x="122" y="334"/>
                </a:lnTo>
                <a:lnTo>
                  <a:pt x="120" y="324"/>
                </a:lnTo>
                <a:lnTo>
                  <a:pt x="120" y="324"/>
                </a:lnTo>
                <a:lnTo>
                  <a:pt x="122" y="314"/>
                </a:lnTo>
                <a:lnTo>
                  <a:pt x="124" y="306"/>
                </a:lnTo>
                <a:lnTo>
                  <a:pt x="126" y="300"/>
                </a:lnTo>
                <a:lnTo>
                  <a:pt x="130" y="292"/>
                </a:lnTo>
                <a:lnTo>
                  <a:pt x="62" y="190"/>
                </a:lnTo>
                <a:lnTo>
                  <a:pt x="62" y="190"/>
                </a:lnTo>
                <a:lnTo>
                  <a:pt x="60" y="186"/>
                </a:lnTo>
                <a:lnTo>
                  <a:pt x="60" y="186"/>
                </a:lnTo>
                <a:lnTo>
                  <a:pt x="48" y="192"/>
                </a:lnTo>
                <a:lnTo>
                  <a:pt x="36" y="200"/>
                </a:lnTo>
                <a:lnTo>
                  <a:pt x="26" y="210"/>
                </a:lnTo>
                <a:lnTo>
                  <a:pt x="16" y="220"/>
                </a:lnTo>
                <a:lnTo>
                  <a:pt x="10" y="234"/>
                </a:lnTo>
                <a:lnTo>
                  <a:pt x="4" y="246"/>
                </a:lnTo>
                <a:lnTo>
                  <a:pt x="0" y="262"/>
                </a:lnTo>
                <a:lnTo>
                  <a:pt x="0" y="276"/>
                </a:lnTo>
                <a:lnTo>
                  <a:pt x="0" y="318"/>
                </a:lnTo>
                <a:lnTo>
                  <a:pt x="0" y="318"/>
                </a:lnTo>
                <a:lnTo>
                  <a:pt x="14" y="336"/>
                </a:lnTo>
                <a:lnTo>
                  <a:pt x="28" y="354"/>
                </a:lnTo>
                <a:lnTo>
                  <a:pt x="46" y="370"/>
                </a:lnTo>
                <a:lnTo>
                  <a:pt x="66" y="384"/>
                </a:lnTo>
                <a:lnTo>
                  <a:pt x="66" y="296"/>
                </a:lnTo>
                <a:lnTo>
                  <a:pt x="92" y="296"/>
                </a:lnTo>
                <a:lnTo>
                  <a:pt x="92" y="398"/>
                </a:lnTo>
                <a:lnTo>
                  <a:pt x="92" y="398"/>
                </a:lnTo>
                <a:lnTo>
                  <a:pt x="112" y="406"/>
                </a:lnTo>
                <a:lnTo>
                  <a:pt x="132" y="410"/>
                </a:lnTo>
                <a:lnTo>
                  <a:pt x="154" y="414"/>
                </a:lnTo>
                <a:lnTo>
                  <a:pt x="176" y="416"/>
                </a:lnTo>
                <a:lnTo>
                  <a:pt x="176" y="416"/>
                </a:lnTo>
                <a:lnTo>
                  <a:pt x="198" y="414"/>
                </a:lnTo>
                <a:lnTo>
                  <a:pt x="220" y="410"/>
                </a:lnTo>
                <a:lnTo>
                  <a:pt x="240" y="406"/>
                </a:lnTo>
                <a:lnTo>
                  <a:pt x="260" y="398"/>
                </a:lnTo>
                <a:lnTo>
                  <a:pt x="260" y="296"/>
                </a:lnTo>
                <a:lnTo>
                  <a:pt x="288" y="296"/>
                </a:lnTo>
                <a:lnTo>
                  <a:pt x="288" y="384"/>
                </a:lnTo>
                <a:lnTo>
                  <a:pt x="288" y="384"/>
                </a:lnTo>
                <a:lnTo>
                  <a:pt x="306" y="370"/>
                </a:lnTo>
                <a:lnTo>
                  <a:pt x="324" y="354"/>
                </a:lnTo>
                <a:lnTo>
                  <a:pt x="338" y="336"/>
                </a:lnTo>
                <a:lnTo>
                  <a:pt x="352" y="318"/>
                </a:lnTo>
                <a:lnTo>
                  <a:pt x="352" y="318"/>
                </a:lnTo>
                <a:close/>
                <a:moveTo>
                  <a:pt x="110" y="178"/>
                </a:moveTo>
                <a:lnTo>
                  <a:pt x="158" y="250"/>
                </a:lnTo>
                <a:lnTo>
                  <a:pt x="164" y="240"/>
                </a:lnTo>
                <a:lnTo>
                  <a:pt x="122" y="178"/>
                </a:lnTo>
                <a:lnTo>
                  <a:pt x="110" y="178"/>
                </a:lnTo>
                <a:close/>
                <a:moveTo>
                  <a:pt x="80" y="180"/>
                </a:moveTo>
                <a:lnTo>
                  <a:pt x="142" y="274"/>
                </a:lnTo>
                <a:lnTo>
                  <a:pt x="148" y="264"/>
                </a:lnTo>
                <a:lnTo>
                  <a:pt x="92" y="180"/>
                </a:lnTo>
                <a:lnTo>
                  <a:pt x="92" y="180"/>
                </a:lnTo>
                <a:lnTo>
                  <a:pt x="80" y="180"/>
                </a:lnTo>
                <a:lnTo>
                  <a:pt x="80" y="180"/>
                </a:lnTo>
                <a:close/>
                <a:moveTo>
                  <a:pt x="102" y="76"/>
                </a:moveTo>
                <a:lnTo>
                  <a:pt x="102" y="76"/>
                </a:lnTo>
                <a:lnTo>
                  <a:pt x="104" y="90"/>
                </a:lnTo>
                <a:lnTo>
                  <a:pt x="108" y="104"/>
                </a:lnTo>
                <a:lnTo>
                  <a:pt x="114" y="118"/>
                </a:lnTo>
                <a:lnTo>
                  <a:pt x="124" y="128"/>
                </a:lnTo>
                <a:lnTo>
                  <a:pt x="134" y="138"/>
                </a:lnTo>
                <a:lnTo>
                  <a:pt x="148" y="144"/>
                </a:lnTo>
                <a:lnTo>
                  <a:pt x="162" y="148"/>
                </a:lnTo>
                <a:lnTo>
                  <a:pt x="176" y="150"/>
                </a:lnTo>
                <a:lnTo>
                  <a:pt x="176" y="150"/>
                </a:lnTo>
                <a:lnTo>
                  <a:pt x="192" y="148"/>
                </a:lnTo>
                <a:lnTo>
                  <a:pt x="206" y="144"/>
                </a:lnTo>
                <a:lnTo>
                  <a:pt x="218" y="138"/>
                </a:lnTo>
                <a:lnTo>
                  <a:pt x="230" y="128"/>
                </a:lnTo>
                <a:lnTo>
                  <a:pt x="238" y="118"/>
                </a:lnTo>
                <a:lnTo>
                  <a:pt x="246" y="104"/>
                </a:lnTo>
                <a:lnTo>
                  <a:pt x="250" y="90"/>
                </a:lnTo>
                <a:lnTo>
                  <a:pt x="252" y="76"/>
                </a:lnTo>
                <a:lnTo>
                  <a:pt x="252" y="76"/>
                </a:lnTo>
                <a:lnTo>
                  <a:pt x="250" y="60"/>
                </a:lnTo>
                <a:lnTo>
                  <a:pt x="246" y="46"/>
                </a:lnTo>
                <a:lnTo>
                  <a:pt x="238" y="34"/>
                </a:lnTo>
                <a:lnTo>
                  <a:pt x="230" y="22"/>
                </a:lnTo>
                <a:lnTo>
                  <a:pt x="218" y="14"/>
                </a:lnTo>
                <a:lnTo>
                  <a:pt x="206" y="6"/>
                </a:lnTo>
                <a:lnTo>
                  <a:pt x="192" y="2"/>
                </a:lnTo>
                <a:lnTo>
                  <a:pt x="176" y="0"/>
                </a:lnTo>
                <a:lnTo>
                  <a:pt x="176" y="0"/>
                </a:lnTo>
                <a:lnTo>
                  <a:pt x="176" y="0"/>
                </a:lnTo>
                <a:lnTo>
                  <a:pt x="176" y="0"/>
                </a:lnTo>
                <a:lnTo>
                  <a:pt x="162" y="2"/>
                </a:lnTo>
                <a:lnTo>
                  <a:pt x="148" y="6"/>
                </a:lnTo>
                <a:lnTo>
                  <a:pt x="134" y="14"/>
                </a:lnTo>
                <a:lnTo>
                  <a:pt x="124" y="22"/>
                </a:lnTo>
                <a:lnTo>
                  <a:pt x="114" y="34"/>
                </a:lnTo>
                <a:lnTo>
                  <a:pt x="108" y="46"/>
                </a:lnTo>
                <a:lnTo>
                  <a:pt x="104" y="60"/>
                </a:lnTo>
                <a:lnTo>
                  <a:pt x="102" y="76"/>
                </a:lnTo>
                <a:lnTo>
                  <a:pt x="102" y="76"/>
                </a:lnTo>
                <a:close/>
                <a:moveTo>
                  <a:pt x="140" y="324"/>
                </a:moveTo>
                <a:lnTo>
                  <a:pt x="140" y="324"/>
                </a:lnTo>
                <a:lnTo>
                  <a:pt x="142" y="316"/>
                </a:lnTo>
                <a:lnTo>
                  <a:pt x="144" y="310"/>
                </a:lnTo>
                <a:lnTo>
                  <a:pt x="146" y="304"/>
                </a:lnTo>
                <a:lnTo>
                  <a:pt x="152" y="298"/>
                </a:lnTo>
                <a:lnTo>
                  <a:pt x="156" y="294"/>
                </a:lnTo>
                <a:lnTo>
                  <a:pt x="162" y="292"/>
                </a:lnTo>
                <a:lnTo>
                  <a:pt x="168" y="290"/>
                </a:lnTo>
                <a:lnTo>
                  <a:pt x="176" y="288"/>
                </a:lnTo>
                <a:lnTo>
                  <a:pt x="176" y="288"/>
                </a:lnTo>
                <a:lnTo>
                  <a:pt x="184" y="290"/>
                </a:lnTo>
                <a:lnTo>
                  <a:pt x="190" y="292"/>
                </a:lnTo>
                <a:lnTo>
                  <a:pt x="196" y="294"/>
                </a:lnTo>
                <a:lnTo>
                  <a:pt x="200" y="298"/>
                </a:lnTo>
                <a:lnTo>
                  <a:pt x="206" y="304"/>
                </a:lnTo>
                <a:lnTo>
                  <a:pt x="208" y="310"/>
                </a:lnTo>
                <a:lnTo>
                  <a:pt x="210" y="316"/>
                </a:lnTo>
                <a:lnTo>
                  <a:pt x="212" y="324"/>
                </a:lnTo>
                <a:lnTo>
                  <a:pt x="212" y="324"/>
                </a:lnTo>
                <a:lnTo>
                  <a:pt x="210" y="330"/>
                </a:lnTo>
                <a:lnTo>
                  <a:pt x="208" y="338"/>
                </a:lnTo>
                <a:lnTo>
                  <a:pt x="206" y="344"/>
                </a:lnTo>
                <a:lnTo>
                  <a:pt x="200" y="348"/>
                </a:lnTo>
                <a:lnTo>
                  <a:pt x="196" y="352"/>
                </a:lnTo>
                <a:lnTo>
                  <a:pt x="190" y="356"/>
                </a:lnTo>
                <a:lnTo>
                  <a:pt x="184" y="358"/>
                </a:lnTo>
                <a:lnTo>
                  <a:pt x="176" y="358"/>
                </a:lnTo>
                <a:lnTo>
                  <a:pt x="176" y="358"/>
                </a:lnTo>
                <a:lnTo>
                  <a:pt x="168" y="358"/>
                </a:lnTo>
                <a:lnTo>
                  <a:pt x="162" y="356"/>
                </a:lnTo>
                <a:lnTo>
                  <a:pt x="156" y="352"/>
                </a:lnTo>
                <a:lnTo>
                  <a:pt x="152" y="348"/>
                </a:lnTo>
                <a:lnTo>
                  <a:pt x="146" y="344"/>
                </a:lnTo>
                <a:lnTo>
                  <a:pt x="144" y="338"/>
                </a:lnTo>
                <a:lnTo>
                  <a:pt x="142" y="330"/>
                </a:lnTo>
                <a:lnTo>
                  <a:pt x="140" y="324"/>
                </a:lnTo>
                <a:lnTo>
                  <a:pt x="140" y="324"/>
                </a:lnTo>
                <a:close/>
                <a:moveTo>
                  <a:pt x="166" y="336"/>
                </a:moveTo>
                <a:lnTo>
                  <a:pt x="166" y="336"/>
                </a:lnTo>
                <a:lnTo>
                  <a:pt x="166" y="340"/>
                </a:lnTo>
                <a:lnTo>
                  <a:pt x="168" y="344"/>
                </a:lnTo>
                <a:lnTo>
                  <a:pt x="172" y="346"/>
                </a:lnTo>
                <a:lnTo>
                  <a:pt x="176" y="346"/>
                </a:lnTo>
                <a:lnTo>
                  <a:pt x="176" y="346"/>
                </a:lnTo>
                <a:lnTo>
                  <a:pt x="180" y="346"/>
                </a:lnTo>
                <a:lnTo>
                  <a:pt x="184" y="344"/>
                </a:lnTo>
                <a:lnTo>
                  <a:pt x="186" y="340"/>
                </a:lnTo>
                <a:lnTo>
                  <a:pt x="186" y="336"/>
                </a:lnTo>
                <a:lnTo>
                  <a:pt x="186" y="310"/>
                </a:lnTo>
                <a:lnTo>
                  <a:pt x="186" y="310"/>
                </a:lnTo>
                <a:lnTo>
                  <a:pt x="186" y="306"/>
                </a:lnTo>
                <a:lnTo>
                  <a:pt x="184" y="304"/>
                </a:lnTo>
                <a:lnTo>
                  <a:pt x="180" y="302"/>
                </a:lnTo>
                <a:lnTo>
                  <a:pt x="176" y="300"/>
                </a:lnTo>
                <a:lnTo>
                  <a:pt x="176" y="300"/>
                </a:lnTo>
                <a:lnTo>
                  <a:pt x="172" y="302"/>
                </a:lnTo>
                <a:lnTo>
                  <a:pt x="168" y="304"/>
                </a:lnTo>
                <a:lnTo>
                  <a:pt x="166" y="306"/>
                </a:lnTo>
                <a:lnTo>
                  <a:pt x="166" y="310"/>
                </a:lnTo>
                <a:lnTo>
                  <a:pt x="166" y="336"/>
                </a:lnTo>
                <a:close/>
                <a:moveTo>
                  <a:pt x="254" y="178"/>
                </a:moveTo>
                <a:lnTo>
                  <a:pt x="230" y="178"/>
                </a:lnTo>
                <a:lnTo>
                  <a:pt x="182" y="250"/>
                </a:lnTo>
                <a:lnTo>
                  <a:pt x="176" y="258"/>
                </a:lnTo>
                <a:lnTo>
                  <a:pt x="176" y="258"/>
                </a:lnTo>
                <a:lnTo>
                  <a:pt x="170" y="268"/>
                </a:lnTo>
                <a:lnTo>
                  <a:pt x="170" y="268"/>
                </a:lnTo>
                <a:lnTo>
                  <a:pt x="176" y="268"/>
                </a:lnTo>
                <a:lnTo>
                  <a:pt x="176" y="268"/>
                </a:lnTo>
                <a:lnTo>
                  <a:pt x="184" y="268"/>
                </a:lnTo>
                <a:lnTo>
                  <a:pt x="192" y="270"/>
                </a:lnTo>
                <a:lnTo>
                  <a:pt x="206" y="278"/>
                </a:lnTo>
                <a:lnTo>
                  <a:pt x="272" y="180"/>
                </a:lnTo>
                <a:lnTo>
                  <a:pt x="272" y="180"/>
                </a:lnTo>
                <a:lnTo>
                  <a:pt x="254" y="178"/>
                </a:lnTo>
                <a:lnTo>
                  <a:pt x="254" y="17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" name="Freeform 4831">
            <a:extLst>
              <a:ext uri="{FF2B5EF4-FFF2-40B4-BE49-F238E27FC236}">
                <a16:creationId xmlns:a16="http://schemas.microsoft.com/office/drawing/2014/main" id="{7D37F2DE-89BC-4A29-B15D-AA270B397AA7}"/>
              </a:ext>
            </a:extLst>
          </p:cNvPr>
          <p:cNvSpPr>
            <a:spLocks noEditPoints="1"/>
          </p:cNvSpPr>
          <p:nvPr/>
        </p:nvSpPr>
        <p:spPr bwMode="auto">
          <a:xfrm>
            <a:off x="2988080" y="3243214"/>
            <a:ext cx="384551" cy="192159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8" name="Freeform 4996">
            <a:extLst>
              <a:ext uri="{FF2B5EF4-FFF2-40B4-BE49-F238E27FC236}">
                <a16:creationId xmlns:a16="http://schemas.microsoft.com/office/drawing/2014/main" id="{C73AD255-96F3-417B-8582-3E6225046ECB}"/>
              </a:ext>
            </a:extLst>
          </p:cNvPr>
          <p:cNvSpPr>
            <a:spLocks noEditPoints="1"/>
          </p:cNvSpPr>
          <p:nvPr/>
        </p:nvSpPr>
        <p:spPr bwMode="auto">
          <a:xfrm>
            <a:off x="3911029" y="1729730"/>
            <a:ext cx="246854" cy="267127"/>
          </a:xfrm>
          <a:custGeom>
            <a:avLst/>
            <a:gdLst>
              <a:gd name="T0" fmla="*/ 64 w 298"/>
              <a:gd name="T1" fmla="*/ 142 h 298"/>
              <a:gd name="T2" fmla="*/ 62 w 298"/>
              <a:gd name="T3" fmla="*/ 126 h 298"/>
              <a:gd name="T4" fmla="*/ 70 w 298"/>
              <a:gd name="T5" fmla="*/ 86 h 298"/>
              <a:gd name="T6" fmla="*/ 82 w 298"/>
              <a:gd name="T7" fmla="*/ 68 h 298"/>
              <a:gd name="T8" fmla="*/ 96 w 298"/>
              <a:gd name="T9" fmla="*/ 72 h 298"/>
              <a:gd name="T10" fmla="*/ 96 w 298"/>
              <a:gd name="T11" fmla="*/ 112 h 298"/>
              <a:gd name="T12" fmla="*/ 86 w 298"/>
              <a:gd name="T13" fmla="*/ 136 h 298"/>
              <a:gd name="T14" fmla="*/ 72 w 298"/>
              <a:gd name="T15" fmla="*/ 148 h 298"/>
              <a:gd name="T16" fmla="*/ 216 w 298"/>
              <a:gd name="T17" fmla="*/ 150 h 298"/>
              <a:gd name="T18" fmla="*/ 204 w 298"/>
              <a:gd name="T19" fmla="*/ 166 h 298"/>
              <a:gd name="T20" fmla="*/ 196 w 298"/>
              <a:gd name="T21" fmla="*/ 208 h 298"/>
              <a:gd name="T22" fmla="*/ 198 w 298"/>
              <a:gd name="T23" fmla="*/ 224 h 298"/>
              <a:gd name="T24" fmla="*/ 212 w 298"/>
              <a:gd name="T25" fmla="*/ 228 h 298"/>
              <a:gd name="T26" fmla="*/ 224 w 298"/>
              <a:gd name="T27" fmla="*/ 214 h 298"/>
              <a:gd name="T28" fmla="*/ 230 w 298"/>
              <a:gd name="T29" fmla="*/ 192 h 298"/>
              <a:gd name="T30" fmla="*/ 232 w 298"/>
              <a:gd name="T31" fmla="*/ 168 h 298"/>
              <a:gd name="T32" fmla="*/ 222 w 298"/>
              <a:gd name="T33" fmla="*/ 148 h 298"/>
              <a:gd name="T34" fmla="*/ 298 w 298"/>
              <a:gd name="T35" fmla="*/ 266 h 298"/>
              <a:gd name="T36" fmla="*/ 278 w 298"/>
              <a:gd name="T37" fmla="*/ 294 h 298"/>
              <a:gd name="T38" fmla="*/ 32 w 298"/>
              <a:gd name="T39" fmla="*/ 298 h 298"/>
              <a:gd name="T40" fmla="*/ 2 w 298"/>
              <a:gd name="T41" fmla="*/ 278 h 298"/>
              <a:gd name="T42" fmla="*/ 0 w 298"/>
              <a:gd name="T43" fmla="*/ 32 h 298"/>
              <a:gd name="T44" fmla="*/ 18 w 298"/>
              <a:gd name="T45" fmla="*/ 2 h 298"/>
              <a:gd name="T46" fmla="*/ 266 w 298"/>
              <a:gd name="T47" fmla="*/ 0 h 298"/>
              <a:gd name="T48" fmla="*/ 294 w 298"/>
              <a:gd name="T49" fmla="*/ 18 h 298"/>
              <a:gd name="T50" fmla="*/ 42 w 298"/>
              <a:gd name="T51" fmla="*/ 150 h 298"/>
              <a:gd name="T52" fmla="*/ 62 w 298"/>
              <a:gd name="T53" fmla="*/ 160 h 298"/>
              <a:gd name="T54" fmla="*/ 94 w 298"/>
              <a:gd name="T55" fmla="*/ 156 h 298"/>
              <a:gd name="T56" fmla="*/ 114 w 298"/>
              <a:gd name="T57" fmla="*/ 142 h 298"/>
              <a:gd name="T58" fmla="*/ 130 w 298"/>
              <a:gd name="T59" fmla="*/ 108 h 298"/>
              <a:gd name="T60" fmla="*/ 128 w 298"/>
              <a:gd name="T61" fmla="*/ 78 h 298"/>
              <a:gd name="T62" fmla="*/ 114 w 298"/>
              <a:gd name="T63" fmla="*/ 60 h 298"/>
              <a:gd name="T64" fmla="*/ 90 w 298"/>
              <a:gd name="T65" fmla="*/ 54 h 298"/>
              <a:gd name="T66" fmla="*/ 56 w 298"/>
              <a:gd name="T67" fmla="*/ 64 h 298"/>
              <a:gd name="T68" fmla="*/ 36 w 298"/>
              <a:gd name="T69" fmla="*/ 94 h 298"/>
              <a:gd name="T70" fmla="*/ 32 w 298"/>
              <a:gd name="T71" fmla="*/ 120 h 298"/>
              <a:gd name="T72" fmla="*/ 42 w 298"/>
              <a:gd name="T73" fmla="*/ 150 h 298"/>
              <a:gd name="T74" fmla="*/ 234 w 298"/>
              <a:gd name="T75" fmla="*/ 72 h 298"/>
              <a:gd name="T76" fmla="*/ 232 w 298"/>
              <a:gd name="T77" fmla="*/ 56 h 298"/>
              <a:gd name="T78" fmla="*/ 200 w 298"/>
              <a:gd name="T79" fmla="*/ 56 h 298"/>
              <a:gd name="T80" fmla="*/ 58 w 298"/>
              <a:gd name="T81" fmla="*/ 230 h 298"/>
              <a:gd name="T82" fmla="*/ 68 w 298"/>
              <a:gd name="T83" fmla="*/ 242 h 298"/>
              <a:gd name="T84" fmla="*/ 98 w 298"/>
              <a:gd name="T85" fmla="*/ 238 h 298"/>
              <a:gd name="T86" fmla="*/ 264 w 298"/>
              <a:gd name="T87" fmla="*/ 166 h 298"/>
              <a:gd name="T88" fmla="*/ 254 w 298"/>
              <a:gd name="T89" fmla="*/ 146 h 298"/>
              <a:gd name="T90" fmla="*/ 226 w 298"/>
              <a:gd name="T91" fmla="*/ 134 h 298"/>
              <a:gd name="T92" fmla="*/ 202 w 298"/>
              <a:gd name="T93" fmla="*/ 140 h 298"/>
              <a:gd name="T94" fmla="*/ 176 w 298"/>
              <a:gd name="T95" fmla="*/ 164 h 298"/>
              <a:gd name="T96" fmla="*/ 166 w 298"/>
              <a:gd name="T97" fmla="*/ 202 h 298"/>
              <a:gd name="T98" fmla="*/ 172 w 298"/>
              <a:gd name="T99" fmla="*/ 226 h 298"/>
              <a:gd name="T100" fmla="*/ 188 w 298"/>
              <a:gd name="T101" fmla="*/ 240 h 298"/>
              <a:gd name="T102" fmla="*/ 218 w 298"/>
              <a:gd name="T103" fmla="*/ 240 h 298"/>
              <a:gd name="T104" fmla="*/ 248 w 298"/>
              <a:gd name="T105" fmla="*/ 224 h 298"/>
              <a:gd name="T106" fmla="*/ 260 w 298"/>
              <a:gd name="T107" fmla="*/ 202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98" h="298">
                <a:moveTo>
                  <a:pt x="72" y="148"/>
                </a:moveTo>
                <a:lnTo>
                  <a:pt x="72" y="148"/>
                </a:lnTo>
                <a:lnTo>
                  <a:pt x="68" y="146"/>
                </a:lnTo>
                <a:lnTo>
                  <a:pt x="64" y="142"/>
                </a:lnTo>
                <a:lnTo>
                  <a:pt x="64" y="142"/>
                </a:lnTo>
                <a:lnTo>
                  <a:pt x="62" y="136"/>
                </a:lnTo>
                <a:lnTo>
                  <a:pt x="62" y="126"/>
                </a:lnTo>
                <a:lnTo>
                  <a:pt x="62" y="126"/>
                </a:lnTo>
                <a:lnTo>
                  <a:pt x="64" y="104"/>
                </a:lnTo>
                <a:lnTo>
                  <a:pt x="64" y="104"/>
                </a:lnTo>
                <a:lnTo>
                  <a:pt x="70" y="86"/>
                </a:lnTo>
                <a:lnTo>
                  <a:pt x="70" y="86"/>
                </a:lnTo>
                <a:lnTo>
                  <a:pt x="72" y="78"/>
                </a:lnTo>
                <a:lnTo>
                  <a:pt x="78" y="72"/>
                </a:lnTo>
                <a:lnTo>
                  <a:pt x="78" y="72"/>
                </a:lnTo>
                <a:lnTo>
                  <a:pt x="82" y="68"/>
                </a:lnTo>
                <a:lnTo>
                  <a:pt x="86" y="68"/>
                </a:lnTo>
                <a:lnTo>
                  <a:pt x="86" y="68"/>
                </a:lnTo>
                <a:lnTo>
                  <a:pt x="92" y="68"/>
                </a:lnTo>
                <a:lnTo>
                  <a:pt x="96" y="72"/>
                </a:lnTo>
                <a:lnTo>
                  <a:pt x="98" y="80"/>
                </a:lnTo>
                <a:lnTo>
                  <a:pt x="98" y="88"/>
                </a:lnTo>
                <a:lnTo>
                  <a:pt x="98" y="88"/>
                </a:lnTo>
                <a:lnTo>
                  <a:pt x="96" y="112"/>
                </a:lnTo>
                <a:lnTo>
                  <a:pt x="96" y="112"/>
                </a:lnTo>
                <a:lnTo>
                  <a:pt x="90" y="130"/>
                </a:lnTo>
                <a:lnTo>
                  <a:pt x="90" y="130"/>
                </a:lnTo>
                <a:lnTo>
                  <a:pt x="86" y="136"/>
                </a:lnTo>
                <a:lnTo>
                  <a:pt x="82" y="142"/>
                </a:lnTo>
                <a:lnTo>
                  <a:pt x="82" y="142"/>
                </a:lnTo>
                <a:lnTo>
                  <a:pt x="78" y="146"/>
                </a:lnTo>
                <a:lnTo>
                  <a:pt x="72" y="148"/>
                </a:lnTo>
                <a:lnTo>
                  <a:pt x="72" y="148"/>
                </a:lnTo>
                <a:close/>
                <a:moveTo>
                  <a:pt x="222" y="148"/>
                </a:moveTo>
                <a:lnTo>
                  <a:pt x="222" y="148"/>
                </a:lnTo>
                <a:lnTo>
                  <a:pt x="216" y="150"/>
                </a:lnTo>
                <a:lnTo>
                  <a:pt x="212" y="154"/>
                </a:lnTo>
                <a:lnTo>
                  <a:pt x="212" y="154"/>
                </a:lnTo>
                <a:lnTo>
                  <a:pt x="208" y="158"/>
                </a:lnTo>
                <a:lnTo>
                  <a:pt x="204" y="166"/>
                </a:lnTo>
                <a:lnTo>
                  <a:pt x="204" y="166"/>
                </a:lnTo>
                <a:lnTo>
                  <a:pt x="198" y="184"/>
                </a:lnTo>
                <a:lnTo>
                  <a:pt x="198" y="184"/>
                </a:lnTo>
                <a:lnTo>
                  <a:pt x="196" y="208"/>
                </a:lnTo>
                <a:lnTo>
                  <a:pt x="196" y="208"/>
                </a:lnTo>
                <a:lnTo>
                  <a:pt x="196" y="218"/>
                </a:lnTo>
                <a:lnTo>
                  <a:pt x="198" y="224"/>
                </a:lnTo>
                <a:lnTo>
                  <a:pt x="198" y="224"/>
                </a:lnTo>
                <a:lnTo>
                  <a:pt x="202" y="228"/>
                </a:lnTo>
                <a:lnTo>
                  <a:pt x="208" y="228"/>
                </a:lnTo>
                <a:lnTo>
                  <a:pt x="208" y="228"/>
                </a:lnTo>
                <a:lnTo>
                  <a:pt x="212" y="228"/>
                </a:lnTo>
                <a:lnTo>
                  <a:pt x="216" y="224"/>
                </a:lnTo>
                <a:lnTo>
                  <a:pt x="220" y="220"/>
                </a:lnTo>
                <a:lnTo>
                  <a:pt x="224" y="214"/>
                </a:lnTo>
                <a:lnTo>
                  <a:pt x="224" y="214"/>
                </a:lnTo>
                <a:lnTo>
                  <a:pt x="228" y="204"/>
                </a:lnTo>
                <a:lnTo>
                  <a:pt x="228" y="204"/>
                </a:lnTo>
                <a:lnTo>
                  <a:pt x="230" y="192"/>
                </a:lnTo>
                <a:lnTo>
                  <a:pt x="230" y="192"/>
                </a:lnTo>
                <a:lnTo>
                  <a:pt x="232" y="180"/>
                </a:lnTo>
                <a:lnTo>
                  <a:pt x="232" y="180"/>
                </a:lnTo>
                <a:lnTo>
                  <a:pt x="232" y="168"/>
                </a:lnTo>
                <a:lnTo>
                  <a:pt x="232" y="168"/>
                </a:lnTo>
                <a:lnTo>
                  <a:pt x="232" y="160"/>
                </a:lnTo>
                <a:lnTo>
                  <a:pt x="230" y="154"/>
                </a:lnTo>
                <a:lnTo>
                  <a:pt x="226" y="150"/>
                </a:lnTo>
                <a:lnTo>
                  <a:pt x="222" y="148"/>
                </a:lnTo>
                <a:lnTo>
                  <a:pt x="222" y="148"/>
                </a:lnTo>
                <a:close/>
                <a:moveTo>
                  <a:pt x="298" y="32"/>
                </a:moveTo>
                <a:lnTo>
                  <a:pt x="298" y="266"/>
                </a:lnTo>
                <a:lnTo>
                  <a:pt x="298" y="266"/>
                </a:lnTo>
                <a:lnTo>
                  <a:pt x="296" y="272"/>
                </a:lnTo>
                <a:lnTo>
                  <a:pt x="294" y="278"/>
                </a:lnTo>
                <a:lnTo>
                  <a:pt x="288" y="288"/>
                </a:lnTo>
                <a:lnTo>
                  <a:pt x="278" y="294"/>
                </a:lnTo>
                <a:lnTo>
                  <a:pt x="272" y="296"/>
                </a:lnTo>
                <a:lnTo>
                  <a:pt x="266" y="298"/>
                </a:lnTo>
                <a:lnTo>
                  <a:pt x="32" y="298"/>
                </a:lnTo>
                <a:lnTo>
                  <a:pt x="32" y="298"/>
                </a:lnTo>
                <a:lnTo>
                  <a:pt x="24" y="296"/>
                </a:lnTo>
                <a:lnTo>
                  <a:pt x="18" y="294"/>
                </a:lnTo>
                <a:lnTo>
                  <a:pt x="8" y="288"/>
                </a:lnTo>
                <a:lnTo>
                  <a:pt x="2" y="278"/>
                </a:lnTo>
                <a:lnTo>
                  <a:pt x="0" y="272"/>
                </a:lnTo>
                <a:lnTo>
                  <a:pt x="0" y="266"/>
                </a:lnTo>
                <a:lnTo>
                  <a:pt x="0" y="32"/>
                </a:lnTo>
                <a:lnTo>
                  <a:pt x="0" y="32"/>
                </a:lnTo>
                <a:lnTo>
                  <a:pt x="0" y="24"/>
                </a:lnTo>
                <a:lnTo>
                  <a:pt x="2" y="18"/>
                </a:lnTo>
                <a:lnTo>
                  <a:pt x="8" y="8"/>
                </a:lnTo>
                <a:lnTo>
                  <a:pt x="18" y="2"/>
                </a:lnTo>
                <a:lnTo>
                  <a:pt x="24" y="0"/>
                </a:lnTo>
                <a:lnTo>
                  <a:pt x="32" y="0"/>
                </a:lnTo>
                <a:lnTo>
                  <a:pt x="266" y="0"/>
                </a:lnTo>
                <a:lnTo>
                  <a:pt x="266" y="0"/>
                </a:lnTo>
                <a:lnTo>
                  <a:pt x="272" y="0"/>
                </a:lnTo>
                <a:lnTo>
                  <a:pt x="278" y="2"/>
                </a:lnTo>
                <a:lnTo>
                  <a:pt x="288" y="8"/>
                </a:lnTo>
                <a:lnTo>
                  <a:pt x="294" y="18"/>
                </a:lnTo>
                <a:lnTo>
                  <a:pt x="296" y="24"/>
                </a:lnTo>
                <a:lnTo>
                  <a:pt x="298" y="32"/>
                </a:lnTo>
                <a:lnTo>
                  <a:pt x="298" y="32"/>
                </a:lnTo>
                <a:close/>
                <a:moveTo>
                  <a:pt x="42" y="150"/>
                </a:moveTo>
                <a:lnTo>
                  <a:pt x="42" y="150"/>
                </a:lnTo>
                <a:lnTo>
                  <a:pt x="48" y="156"/>
                </a:lnTo>
                <a:lnTo>
                  <a:pt x="54" y="158"/>
                </a:lnTo>
                <a:lnTo>
                  <a:pt x="62" y="160"/>
                </a:lnTo>
                <a:lnTo>
                  <a:pt x="72" y="162"/>
                </a:lnTo>
                <a:lnTo>
                  <a:pt x="72" y="162"/>
                </a:lnTo>
                <a:lnTo>
                  <a:pt x="84" y="160"/>
                </a:lnTo>
                <a:lnTo>
                  <a:pt x="94" y="156"/>
                </a:lnTo>
                <a:lnTo>
                  <a:pt x="94" y="156"/>
                </a:lnTo>
                <a:lnTo>
                  <a:pt x="104" y="150"/>
                </a:lnTo>
                <a:lnTo>
                  <a:pt x="114" y="142"/>
                </a:lnTo>
                <a:lnTo>
                  <a:pt x="114" y="142"/>
                </a:lnTo>
                <a:lnTo>
                  <a:pt x="120" y="132"/>
                </a:lnTo>
                <a:lnTo>
                  <a:pt x="126" y="122"/>
                </a:lnTo>
                <a:lnTo>
                  <a:pt x="126" y="122"/>
                </a:lnTo>
                <a:lnTo>
                  <a:pt x="130" y="108"/>
                </a:lnTo>
                <a:lnTo>
                  <a:pt x="130" y="96"/>
                </a:lnTo>
                <a:lnTo>
                  <a:pt x="130" y="96"/>
                </a:lnTo>
                <a:lnTo>
                  <a:pt x="130" y="86"/>
                </a:lnTo>
                <a:lnTo>
                  <a:pt x="128" y="78"/>
                </a:lnTo>
                <a:lnTo>
                  <a:pt x="124" y="70"/>
                </a:lnTo>
                <a:lnTo>
                  <a:pt x="120" y="64"/>
                </a:lnTo>
                <a:lnTo>
                  <a:pt x="120" y="64"/>
                </a:lnTo>
                <a:lnTo>
                  <a:pt x="114" y="60"/>
                </a:lnTo>
                <a:lnTo>
                  <a:pt x="108" y="56"/>
                </a:lnTo>
                <a:lnTo>
                  <a:pt x="100" y="54"/>
                </a:lnTo>
                <a:lnTo>
                  <a:pt x="90" y="54"/>
                </a:lnTo>
                <a:lnTo>
                  <a:pt x="90" y="54"/>
                </a:lnTo>
                <a:lnTo>
                  <a:pt x="78" y="56"/>
                </a:lnTo>
                <a:lnTo>
                  <a:pt x="66" y="58"/>
                </a:lnTo>
                <a:lnTo>
                  <a:pt x="66" y="58"/>
                </a:lnTo>
                <a:lnTo>
                  <a:pt x="56" y="64"/>
                </a:lnTo>
                <a:lnTo>
                  <a:pt x="48" y="72"/>
                </a:lnTo>
                <a:lnTo>
                  <a:pt x="48" y="72"/>
                </a:lnTo>
                <a:lnTo>
                  <a:pt x="40" y="82"/>
                </a:lnTo>
                <a:lnTo>
                  <a:pt x="36" y="94"/>
                </a:lnTo>
                <a:lnTo>
                  <a:pt x="36" y="94"/>
                </a:lnTo>
                <a:lnTo>
                  <a:pt x="32" y="106"/>
                </a:lnTo>
                <a:lnTo>
                  <a:pt x="32" y="120"/>
                </a:lnTo>
                <a:lnTo>
                  <a:pt x="32" y="120"/>
                </a:lnTo>
                <a:lnTo>
                  <a:pt x="32" y="130"/>
                </a:lnTo>
                <a:lnTo>
                  <a:pt x="34" y="138"/>
                </a:lnTo>
                <a:lnTo>
                  <a:pt x="36" y="144"/>
                </a:lnTo>
                <a:lnTo>
                  <a:pt x="42" y="150"/>
                </a:lnTo>
                <a:lnTo>
                  <a:pt x="42" y="150"/>
                </a:lnTo>
                <a:close/>
                <a:moveTo>
                  <a:pt x="98" y="238"/>
                </a:moveTo>
                <a:lnTo>
                  <a:pt x="234" y="72"/>
                </a:lnTo>
                <a:lnTo>
                  <a:pt x="234" y="72"/>
                </a:lnTo>
                <a:lnTo>
                  <a:pt x="236" y="66"/>
                </a:lnTo>
                <a:lnTo>
                  <a:pt x="236" y="60"/>
                </a:lnTo>
                <a:lnTo>
                  <a:pt x="236" y="60"/>
                </a:lnTo>
                <a:lnTo>
                  <a:pt x="232" y="56"/>
                </a:lnTo>
                <a:lnTo>
                  <a:pt x="226" y="54"/>
                </a:lnTo>
                <a:lnTo>
                  <a:pt x="204" y="54"/>
                </a:lnTo>
                <a:lnTo>
                  <a:pt x="204" y="54"/>
                </a:lnTo>
                <a:lnTo>
                  <a:pt x="200" y="56"/>
                </a:lnTo>
                <a:lnTo>
                  <a:pt x="196" y="58"/>
                </a:lnTo>
                <a:lnTo>
                  <a:pt x="60" y="224"/>
                </a:lnTo>
                <a:lnTo>
                  <a:pt x="60" y="224"/>
                </a:lnTo>
                <a:lnTo>
                  <a:pt x="58" y="230"/>
                </a:lnTo>
                <a:lnTo>
                  <a:pt x="60" y="236"/>
                </a:lnTo>
                <a:lnTo>
                  <a:pt x="60" y="236"/>
                </a:lnTo>
                <a:lnTo>
                  <a:pt x="62" y="240"/>
                </a:lnTo>
                <a:lnTo>
                  <a:pt x="68" y="242"/>
                </a:lnTo>
                <a:lnTo>
                  <a:pt x="92" y="242"/>
                </a:lnTo>
                <a:lnTo>
                  <a:pt x="92" y="242"/>
                </a:lnTo>
                <a:lnTo>
                  <a:pt x="96" y="240"/>
                </a:lnTo>
                <a:lnTo>
                  <a:pt x="98" y="238"/>
                </a:lnTo>
                <a:lnTo>
                  <a:pt x="98" y="238"/>
                </a:lnTo>
                <a:close/>
                <a:moveTo>
                  <a:pt x="266" y="176"/>
                </a:moveTo>
                <a:lnTo>
                  <a:pt x="266" y="176"/>
                </a:lnTo>
                <a:lnTo>
                  <a:pt x="264" y="166"/>
                </a:lnTo>
                <a:lnTo>
                  <a:pt x="262" y="158"/>
                </a:lnTo>
                <a:lnTo>
                  <a:pt x="260" y="152"/>
                </a:lnTo>
                <a:lnTo>
                  <a:pt x="254" y="146"/>
                </a:lnTo>
                <a:lnTo>
                  <a:pt x="254" y="146"/>
                </a:lnTo>
                <a:lnTo>
                  <a:pt x="248" y="142"/>
                </a:lnTo>
                <a:lnTo>
                  <a:pt x="242" y="138"/>
                </a:lnTo>
                <a:lnTo>
                  <a:pt x="234" y="136"/>
                </a:lnTo>
                <a:lnTo>
                  <a:pt x="226" y="134"/>
                </a:lnTo>
                <a:lnTo>
                  <a:pt x="226" y="134"/>
                </a:lnTo>
                <a:lnTo>
                  <a:pt x="212" y="136"/>
                </a:lnTo>
                <a:lnTo>
                  <a:pt x="202" y="140"/>
                </a:lnTo>
                <a:lnTo>
                  <a:pt x="202" y="140"/>
                </a:lnTo>
                <a:lnTo>
                  <a:pt x="192" y="146"/>
                </a:lnTo>
                <a:lnTo>
                  <a:pt x="182" y="154"/>
                </a:lnTo>
                <a:lnTo>
                  <a:pt x="182" y="154"/>
                </a:lnTo>
                <a:lnTo>
                  <a:pt x="176" y="164"/>
                </a:lnTo>
                <a:lnTo>
                  <a:pt x="170" y="174"/>
                </a:lnTo>
                <a:lnTo>
                  <a:pt x="170" y="174"/>
                </a:lnTo>
                <a:lnTo>
                  <a:pt x="166" y="188"/>
                </a:lnTo>
                <a:lnTo>
                  <a:pt x="166" y="202"/>
                </a:lnTo>
                <a:lnTo>
                  <a:pt x="166" y="202"/>
                </a:lnTo>
                <a:lnTo>
                  <a:pt x="166" y="210"/>
                </a:lnTo>
                <a:lnTo>
                  <a:pt x="168" y="218"/>
                </a:lnTo>
                <a:lnTo>
                  <a:pt x="172" y="226"/>
                </a:lnTo>
                <a:lnTo>
                  <a:pt x="176" y="232"/>
                </a:lnTo>
                <a:lnTo>
                  <a:pt x="176" y="232"/>
                </a:lnTo>
                <a:lnTo>
                  <a:pt x="182" y="236"/>
                </a:lnTo>
                <a:lnTo>
                  <a:pt x="188" y="240"/>
                </a:lnTo>
                <a:lnTo>
                  <a:pt x="196" y="242"/>
                </a:lnTo>
                <a:lnTo>
                  <a:pt x="206" y="242"/>
                </a:lnTo>
                <a:lnTo>
                  <a:pt x="206" y="242"/>
                </a:lnTo>
                <a:lnTo>
                  <a:pt x="218" y="240"/>
                </a:lnTo>
                <a:lnTo>
                  <a:pt x="230" y="238"/>
                </a:lnTo>
                <a:lnTo>
                  <a:pt x="230" y="238"/>
                </a:lnTo>
                <a:lnTo>
                  <a:pt x="240" y="232"/>
                </a:lnTo>
                <a:lnTo>
                  <a:pt x="248" y="224"/>
                </a:lnTo>
                <a:lnTo>
                  <a:pt x="248" y="224"/>
                </a:lnTo>
                <a:lnTo>
                  <a:pt x="256" y="214"/>
                </a:lnTo>
                <a:lnTo>
                  <a:pt x="260" y="202"/>
                </a:lnTo>
                <a:lnTo>
                  <a:pt x="260" y="202"/>
                </a:lnTo>
                <a:lnTo>
                  <a:pt x="264" y="190"/>
                </a:lnTo>
                <a:lnTo>
                  <a:pt x="266" y="176"/>
                </a:lnTo>
                <a:lnTo>
                  <a:pt x="266" y="17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" name="Freeform 290">
            <a:extLst>
              <a:ext uri="{FF2B5EF4-FFF2-40B4-BE49-F238E27FC236}">
                <a16:creationId xmlns:a16="http://schemas.microsoft.com/office/drawing/2014/main" id="{16E4B611-552B-4BE3-B1C4-23ECB533C3D6}"/>
              </a:ext>
            </a:extLst>
          </p:cNvPr>
          <p:cNvSpPr>
            <a:spLocks/>
          </p:cNvSpPr>
          <p:nvPr/>
        </p:nvSpPr>
        <p:spPr bwMode="auto">
          <a:xfrm>
            <a:off x="5851517" y="4146805"/>
            <a:ext cx="305577" cy="234801"/>
          </a:xfrm>
          <a:custGeom>
            <a:avLst/>
            <a:gdLst>
              <a:gd name="T0" fmla="*/ 0 w 430"/>
              <a:gd name="T1" fmla="*/ 318 h 358"/>
              <a:gd name="T2" fmla="*/ 78 w 430"/>
              <a:gd name="T3" fmla="*/ 318 h 358"/>
              <a:gd name="T4" fmla="*/ 78 w 430"/>
              <a:gd name="T5" fmla="*/ 238 h 358"/>
              <a:gd name="T6" fmla="*/ 156 w 430"/>
              <a:gd name="T7" fmla="*/ 238 h 358"/>
              <a:gd name="T8" fmla="*/ 156 w 430"/>
              <a:gd name="T9" fmla="*/ 158 h 358"/>
              <a:gd name="T10" fmla="*/ 236 w 430"/>
              <a:gd name="T11" fmla="*/ 158 h 358"/>
              <a:gd name="T12" fmla="*/ 236 w 430"/>
              <a:gd name="T13" fmla="*/ 78 h 358"/>
              <a:gd name="T14" fmla="*/ 314 w 430"/>
              <a:gd name="T15" fmla="*/ 78 h 358"/>
              <a:gd name="T16" fmla="*/ 314 w 430"/>
              <a:gd name="T17" fmla="*/ 0 h 358"/>
              <a:gd name="T18" fmla="*/ 430 w 430"/>
              <a:gd name="T19" fmla="*/ 0 h 358"/>
              <a:gd name="T20" fmla="*/ 430 w 430"/>
              <a:gd name="T21" fmla="*/ 40 h 358"/>
              <a:gd name="T22" fmla="*/ 354 w 430"/>
              <a:gd name="T23" fmla="*/ 40 h 358"/>
              <a:gd name="T24" fmla="*/ 354 w 430"/>
              <a:gd name="T25" fmla="*/ 118 h 358"/>
              <a:gd name="T26" fmla="*/ 274 w 430"/>
              <a:gd name="T27" fmla="*/ 118 h 358"/>
              <a:gd name="T28" fmla="*/ 274 w 430"/>
              <a:gd name="T29" fmla="*/ 198 h 358"/>
              <a:gd name="T30" fmla="*/ 196 w 430"/>
              <a:gd name="T31" fmla="*/ 198 h 358"/>
              <a:gd name="T32" fmla="*/ 196 w 430"/>
              <a:gd name="T33" fmla="*/ 278 h 358"/>
              <a:gd name="T34" fmla="*/ 116 w 430"/>
              <a:gd name="T35" fmla="*/ 278 h 358"/>
              <a:gd name="T36" fmla="*/ 116 w 430"/>
              <a:gd name="T37" fmla="*/ 358 h 358"/>
              <a:gd name="T38" fmla="*/ 0 w 430"/>
              <a:gd name="T39" fmla="*/ 358 h 358"/>
              <a:gd name="T40" fmla="*/ 0 w 430"/>
              <a:gd name="T41" fmla="*/ 318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30" h="358">
                <a:moveTo>
                  <a:pt x="0" y="318"/>
                </a:moveTo>
                <a:lnTo>
                  <a:pt x="78" y="318"/>
                </a:lnTo>
                <a:lnTo>
                  <a:pt x="78" y="238"/>
                </a:lnTo>
                <a:lnTo>
                  <a:pt x="156" y="238"/>
                </a:lnTo>
                <a:lnTo>
                  <a:pt x="156" y="158"/>
                </a:lnTo>
                <a:lnTo>
                  <a:pt x="236" y="158"/>
                </a:lnTo>
                <a:lnTo>
                  <a:pt x="236" y="78"/>
                </a:lnTo>
                <a:lnTo>
                  <a:pt x="314" y="78"/>
                </a:lnTo>
                <a:lnTo>
                  <a:pt x="314" y="0"/>
                </a:lnTo>
                <a:lnTo>
                  <a:pt x="430" y="0"/>
                </a:lnTo>
                <a:lnTo>
                  <a:pt x="430" y="40"/>
                </a:lnTo>
                <a:lnTo>
                  <a:pt x="354" y="40"/>
                </a:lnTo>
                <a:lnTo>
                  <a:pt x="354" y="118"/>
                </a:lnTo>
                <a:lnTo>
                  <a:pt x="274" y="118"/>
                </a:lnTo>
                <a:lnTo>
                  <a:pt x="274" y="198"/>
                </a:lnTo>
                <a:lnTo>
                  <a:pt x="196" y="198"/>
                </a:lnTo>
                <a:lnTo>
                  <a:pt x="196" y="278"/>
                </a:lnTo>
                <a:lnTo>
                  <a:pt x="116" y="278"/>
                </a:lnTo>
                <a:lnTo>
                  <a:pt x="116" y="358"/>
                </a:lnTo>
                <a:lnTo>
                  <a:pt x="0" y="358"/>
                </a:lnTo>
                <a:lnTo>
                  <a:pt x="0" y="3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" name="Freeform 4827">
            <a:extLst>
              <a:ext uri="{FF2B5EF4-FFF2-40B4-BE49-F238E27FC236}">
                <a16:creationId xmlns:a16="http://schemas.microsoft.com/office/drawing/2014/main" id="{78F35B04-9723-447D-9B23-2793E3550F50}"/>
              </a:ext>
            </a:extLst>
          </p:cNvPr>
          <p:cNvSpPr>
            <a:spLocks noEditPoints="1"/>
          </p:cNvSpPr>
          <p:nvPr/>
        </p:nvSpPr>
        <p:spPr bwMode="auto">
          <a:xfrm>
            <a:off x="3870945" y="3167302"/>
            <a:ext cx="289542" cy="273326"/>
          </a:xfrm>
          <a:custGeom>
            <a:avLst/>
            <a:gdLst>
              <a:gd name="T0" fmla="*/ 338 w 352"/>
              <a:gd name="T1" fmla="*/ 194 h 338"/>
              <a:gd name="T2" fmla="*/ 294 w 352"/>
              <a:gd name="T3" fmla="*/ 46 h 338"/>
              <a:gd name="T4" fmla="*/ 292 w 352"/>
              <a:gd name="T5" fmla="*/ 46 h 338"/>
              <a:gd name="T6" fmla="*/ 292 w 352"/>
              <a:gd name="T7" fmla="*/ 44 h 338"/>
              <a:gd name="T8" fmla="*/ 290 w 352"/>
              <a:gd name="T9" fmla="*/ 44 h 338"/>
              <a:gd name="T10" fmla="*/ 288 w 352"/>
              <a:gd name="T11" fmla="*/ 42 h 338"/>
              <a:gd name="T12" fmla="*/ 288 w 352"/>
              <a:gd name="T13" fmla="*/ 42 h 338"/>
              <a:gd name="T14" fmla="*/ 286 w 352"/>
              <a:gd name="T15" fmla="*/ 40 h 338"/>
              <a:gd name="T16" fmla="*/ 284 w 352"/>
              <a:gd name="T17" fmla="*/ 40 h 338"/>
              <a:gd name="T18" fmla="*/ 202 w 352"/>
              <a:gd name="T19" fmla="*/ 40 h 338"/>
              <a:gd name="T20" fmla="*/ 192 w 352"/>
              <a:gd name="T21" fmla="*/ 26 h 338"/>
              <a:gd name="T22" fmla="*/ 186 w 352"/>
              <a:gd name="T23" fmla="*/ 10 h 338"/>
              <a:gd name="T24" fmla="*/ 180 w 352"/>
              <a:gd name="T25" fmla="*/ 2 h 338"/>
              <a:gd name="T26" fmla="*/ 172 w 352"/>
              <a:gd name="T27" fmla="*/ 2 h 338"/>
              <a:gd name="T28" fmla="*/ 166 w 352"/>
              <a:gd name="T29" fmla="*/ 10 h 338"/>
              <a:gd name="T30" fmla="*/ 160 w 352"/>
              <a:gd name="T31" fmla="*/ 26 h 338"/>
              <a:gd name="T32" fmla="*/ 150 w 352"/>
              <a:gd name="T33" fmla="*/ 40 h 338"/>
              <a:gd name="T34" fmla="*/ 68 w 352"/>
              <a:gd name="T35" fmla="*/ 40 h 338"/>
              <a:gd name="T36" fmla="*/ 66 w 352"/>
              <a:gd name="T37" fmla="*/ 40 h 338"/>
              <a:gd name="T38" fmla="*/ 64 w 352"/>
              <a:gd name="T39" fmla="*/ 42 h 338"/>
              <a:gd name="T40" fmla="*/ 64 w 352"/>
              <a:gd name="T41" fmla="*/ 42 h 338"/>
              <a:gd name="T42" fmla="*/ 62 w 352"/>
              <a:gd name="T43" fmla="*/ 44 h 338"/>
              <a:gd name="T44" fmla="*/ 60 w 352"/>
              <a:gd name="T45" fmla="*/ 44 h 338"/>
              <a:gd name="T46" fmla="*/ 60 w 352"/>
              <a:gd name="T47" fmla="*/ 46 h 338"/>
              <a:gd name="T48" fmla="*/ 58 w 352"/>
              <a:gd name="T49" fmla="*/ 46 h 338"/>
              <a:gd name="T50" fmla="*/ 14 w 352"/>
              <a:gd name="T51" fmla="*/ 194 h 338"/>
              <a:gd name="T52" fmla="*/ 0 w 352"/>
              <a:gd name="T53" fmla="*/ 194 h 338"/>
              <a:gd name="T54" fmla="*/ 18 w 352"/>
              <a:gd name="T55" fmla="*/ 220 h 338"/>
              <a:gd name="T56" fmla="*/ 46 w 352"/>
              <a:gd name="T57" fmla="*/ 236 h 338"/>
              <a:gd name="T58" fmla="*/ 68 w 352"/>
              <a:gd name="T59" fmla="*/ 240 h 338"/>
              <a:gd name="T60" fmla="*/ 100 w 352"/>
              <a:gd name="T61" fmla="*/ 232 h 338"/>
              <a:gd name="T62" fmla="*/ 124 w 352"/>
              <a:gd name="T63" fmla="*/ 212 h 338"/>
              <a:gd name="T64" fmla="*/ 122 w 352"/>
              <a:gd name="T65" fmla="*/ 194 h 338"/>
              <a:gd name="T66" fmla="*/ 82 w 352"/>
              <a:gd name="T67" fmla="*/ 60 h 338"/>
              <a:gd name="T68" fmla="*/ 152 w 352"/>
              <a:gd name="T69" fmla="*/ 66 h 338"/>
              <a:gd name="T70" fmla="*/ 166 w 352"/>
              <a:gd name="T71" fmla="*/ 78 h 338"/>
              <a:gd name="T72" fmla="*/ 122 w 352"/>
              <a:gd name="T73" fmla="*/ 306 h 338"/>
              <a:gd name="T74" fmla="*/ 108 w 352"/>
              <a:gd name="T75" fmla="*/ 316 h 338"/>
              <a:gd name="T76" fmla="*/ 108 w 352"/>
              <a:gd name="T77" fmla="*/ 328 h 338"/>
              <a:gd name="T78" fmla="*/ 122 w 352"/>
              <a:gd name="T79" fmla="*/ 338 h 338"/>
              <a:gd name="T80" fmla="*/ 236 w 352"/>
              <a:gd name="T81" fmla="*/ 338 h 338"/>
              <a:gd name="T82" fmla="*/ 246 w 352"/>
              <a:gd name="T83" fmla="*/ 322 h 338"/>
              <a:gd name="T84" fmla="*/ 242 w 352"/>
              <a:gd name="T85" fmla="*/ 312 h 338"/>
              <a:gd name="T86" fmla="*/ 186 w 352"/>
              <a:gd name="T87" fmla="*/ 306 h 338"/>
              <a:gd name="T88" fmla="*/ 192 w 352"/>
              <a:gd name="T89" fmla="*/ 74 h 338"/>
              <a:gd name="T90" fmla="*/ 202 w 352"/>
              <a:gd name="T91" fmla="*/ 60 h 338"/>
              <a:gd name="T92" fmla="*/ 230 w 352"/>
              <a:gd name="T93" fmla="*/ 194 h 338"/>
              <a:gd name="T94" fmla="*/ 216 w 352"/>
              <a:gd name="T95" fmla="*/ 194 h 338"/>
              <a:gd name="T96" fmla="*/ 234 w 352"/>
              <a:gd name="T97" fmla="*/ 220 h 338"/>
              <a:gd name="T98" fmla="*/ 262 w 352"/>
              <a:gd name="T99" fmla="*/ 236 h 338"/>
              <a:gd name="T100" fmla="*/ 284 w 352"/>
              <a:gd name="T101" fmla="*/ 240 h 338"/>
              <a:gd name="T102" fmla="*/ 316 w 352"/>
              <a:gd name="T103" fmla="*/ 232 h 338"/>
              <a:gd name="T104" fmla="*/ 340 w 352"/>
              <a:gd name="T105" fmla="*/ 212 h 338"/>
              <a:gd name="T106" fmla="*/ 338 w 352"/>
              <a:gd name="T107" fmla="*/ 194 h 338"/>
              <a:gd name="T108" fmla="*/ 100 w 352"/>
              <a:gd name="T109" fmla="*/ 194 h 338"/>
              <a:gd name="T110" fmla="*/ 284 w 352"/>
              <a:gd name="T111" fmla="*/ 86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2" h="338">
                <a:moveTo>
                  <a:pt x="338" y="194"/>
                </a:moveTo>
                <a:lnTo>
                  <a:pt x="338" y="194"/>
                </a:lnTo>
                <a:lnTo>
                  <a:pt x="338" y="194"/>
                </a:lnTo>
                <a:lnTo>
                  <a:pt x="294" y="48"/>
                </a:lnTo>
                <a:lnTo>
                  <a:pt x="294" y="48"/>
                </a:lnTo>
                <a:lnTo>
                  <a:pt x="294" y="46"/>
                </a:lnTo>
                <a:lnTo>
                  <a:pt x="294" y="46"/>
                </a:lnTo>
                <a:lnTo>
                  <a:pt x="292" y="46"/>
                </a:lnTo>
                <a:lnTo>
                  <a:pt x="292" y="46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0" y="44"/>
                </a:lnTo>
                <a:lnTo>
                  <a:pt x="290" y="44"/>
                </a:lnTo>
                <a:lnTo>
                  <a:pt x="290" y="42"/>
                </a:lnTo>
                <a:lnTo>
                  <a:pt x="290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4" y="40"/>
                </a:lnTo>
                <a:lnTo>
                  <a:pt x="284" y="40"/>
                </a:lnTo>
                <a:lnTo>
                  <a:pt x="284" y="40"/>
                </a:lnTo>
                <a:lnTo>
                  <a:pt x="202" y="40"/>
                </a:lnTo>
                <a:lnTo>
                  <a:pt x="202" y="40"/>
                </a:lnTo>
                <a:lnTo>
                  <a:pt x="200" y="34"/>
                </a:lnTo>
                <a:lnTo>
                  <a:pt x="196" y="30"/>
                </a:lnTo>
                <a:lnTo>
                  <a:pt x="192" y="26"/>
                </a:lnTo>
                <a:lnTo>
                  <a:pt x="186" y="24"/>
                </a:lnTo>
                <a:lnTo>
                  <a:pt x="186" y="10"/>
                </a:lnTo>
                <a:lnTo>
                  <a:pt x="186" y="10"/>
                </a:lnTo>
                <a:lnTo>
                  <a:pt x="186" y="6"/>
                </a:lnTo>
                <a:lnTo>
                  <a:pt x="184" y="4"/>
                </a:lnTo>
                <a:lnTo>
                  <a:pt x="180" y="2"/>
                </a:lnTo>
                <a:lnTo>
                  <a:pt x="176" y="0"/>
                </a:lnTo>
                <a:lnTo>
                  <a:pt x="176" y="0"/>
                </a:lnTo>
                <a:lnTo>
                  <a:pt x="172" y="2"/>
                </a:lnTo>
                <a:lnTo>
                  <a:pt x="168" y="4"/>
                </a:lnTo>
                <a:lnTo>
                  <a:pt x="166" y="6"/>
                </a:lnTo>
                <a:lnTo>
                  <a:pt x="166" y="10"/>
                </a:lnTo>
                <a:lnTo>
                  <a:pt x="166" y="24"/>
                </a:lnTo>
                <a:lnTo>
                  <a:pt x="166" y="24"/>
                </a:lnTo>
                <a:lnTo>
                  <a:pt x="160" y="26"/>
                </a:lnTo>
                <a:lnTo>
                  <a:pt x="156" y="30"/>
                </a:lnTo>
                <a:lnTo>
                  <a:pt x="152" y="34"/>
                </a:lnTo>
                <a:lnTo>
                  <a:pt x="150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2" y="42"/>
                </a:lnTo>
                <a:lnTo>
                  <a:pt x="62" y="42"/>
                </a:lnTo>
                <a:lnTo>
                  <a:pt x="62" y="44"/>
                </a:lnTo>
                <a:lnTo>
                  <a:pt x="62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6"/>
                </a:lnTo>
                <a:lnTo>
                  <a:pt x="60" y="46"/>
                </a:lnTo>
                <a:lnTo>
                  <a:pt x="58" y="46"/>
                </a:lnTo>
                <a:lnTo>
                  <a:pt x="58" y="46"/>
                </a:lnTo>
                <a:lnTo>
                  <a:pt x="58" y="48"/>
                </a:lnTo>
                <a:lnTo>
                  <a:pt x="14" y="194"/>
                </a:lnTo>
                <a:lnTo>
                  <a:pt x="14" y="194"/>
                </a:lnTo>
                <a:lnTo>
                  <a:pt x="14" y="194"/>
                </a:lnTo>
                <a:lnTo>
                  <a:pt x="0" y="194"/>
                </a:lnTo>
                <a:lnTo>
                  <a:pt x="0" y="194"/>
                </a:lnTo>
                <a:lnTo>
                  <a:pt x="6" y="204"/>
                </a:lnTo>
                <a:lnTo>
                  <a:pt x="12" y="212"/>
                </a:lnTo>
                <a:lnTo>
                  <a:pt x="18" y="220"/>
                </a:lnTo>
                <a:lnTo>
                  <a:pt x="26" y="228"/>
                </a:lnTo>
                <a:lnTo>
                  <a:pt x="36" y="232"/>
                </a:lnTo>
                <a:lnTo>
                  <a:pt x="46" y="236"/>
                </a:lnTo>
                <a:lnTo>
                  <a:pt x="56" y="240"/>
                </a:lnTo>
                <a:lnTo>
                  <a:pt x="68" y="240"/>
                </a:lnTo>
                <a:lnTo>
                  <a:pt x="68" y="240"/>
                </a:lnTo>
                <a:lnTo>
                  <a:pt x="80" y="240"/>
                </a:lnTo>
                <a:lnTo>
                  <a:pt x="90" y="236"/>
                </a:lnTo>
                <a:lnTo>
                  <a:pt x="100" y="232"/>
                </a:lnTo>
                <a:lnTo>
                  <a:pt x="110" y="228"/>
                </a:lnTo>
                <a:lnTo>
                  <a:pt x="118" y="220"/>
                </a:lnTo>
                <a:lnTo>
                  <a:pt x="124" y="212"/>
                </a:lnTo>
                <a:lnTo>
                  <a:pt x="130" y="204"/>
                </a:lnTo>
                <a:lnTo>
                  <a:pt x="136" y="194"/>
                </a:lnTo>
                <a:lnTo>
                  <a:pt x="122" y="194"/>
                </a:lnTo>
                <a:lnTo>
                  <a:pt x="122" y="194"/>
                </a:lnTo>
                <a:lnTo>
                  <a:pt x="122" y="194"/>
                </a:lnTo>
                <a:lnTo>
                  <a:pt x="82" y="60"/>
                </a:lnTo>
                <a:lnTo>
                  <a:pt x="150" y="60"/>
                </a:lnTo>
                <a:lnTo>
                  <a:pt x="150" y="60"/>
                </a:lnTo>
                <a:lnTo>
                  <a:pt x="152" y="66"/>
                </a:lnTo>
                <a:lnTo>
                  <a:pt x="156" y="70"/>
                </a:lnTo>
                <a:lnTo>
                  <a:pt x="160" y="74"/>
                </a:lnTo>
                <a:lnTo>
                  <a:pt x="166" y="78"/>
                </a:lnTo>
                <a:lnTo>
                  <a:pt x="166" y="306"/>
                </a:lnTo>
                <a:lnTo>
                  <a:pt x="122" y="306"/>
                </a:lnTo>
                <a:lnTo>
                  <a:pt x="122" y="306"/>
                </a:lnTo>
                <a:lnTo>
                  <a:pt x="116" y="308"/>
                </a:lnTo>
                <a:lnTo>
                  <a:pt x="110" y="312"/>
                </a:lnTo>
                <a:lnTo>
                  <a:pt x="108" y="316"/>
                </a:lnTo>
                <a:lnTo>
                  <a:pt x="106" y="322"/>
                </a:lnTo>
                <a:lnTo>
                  <a:pt x="106" y="322"/>
                </a:lnTo>
                <a:lnTo>
                  <a:pt x="108" y="328"/>
                </a:lnTo>
                <a:lnTo>
                  <a:pt x="110" y="334"/>
                </a:lnTo>
                <a:lnTo>
                  <a:pt x="116" y="338"/>
                </a:lnTo>
                <a:lnTo>
                  <a:pt x="122" y="338"/>
                </a:lnTo>
                <a:lnTo>
                  <a:pt x="230" y="338"/>
                </a:lnTo>
                <a:lnTo>
                  <a:pt x="230" y="338"/>
                </a:lnTo>
                <a:lnTo>
                  <a:pt x="236" y="338"/>
                </a:lnTo>
                <a:lnTo>
                  <a:pt x="242" y="334"/>
                </a:lnTo>
                <a:lnTo>
                  <a:pt x="244" y="328"/>
                </a:lnTo>
                <a:lnTo>
                  <a:pt x="246" y="322"/>
                </a:lnTo>
                <a:lnTo>
                  <a:pt x="246" y="322"/>
                </a:lnTo>
                <a:lnTo>
                  <a:pt x="244" y="316"/>
                </a:lnTo>
                <a:lnTo>
                  <a:pt x="242" y="312"/>
                </a:lnTo>
                <a:lnTo>
                  <a:pt x="236" y="308"/>
                </a:lnTo>
                <a:lnTo>
                  <a:pt x="230" y="306"/>
                </a:lnTo>
                <a:lnTo>
                  <a:pt x="186" y="306"/>
                </a:lnTo>
                <a:lnTo>
                  <a:pt x="186" y="78"/>
                </a:lnTo>
                <a:lnTo>
                  <a:pt x="186" y="78"/>
                </a:lnTo>
                <a:lnTo>
                  <a:pt x="192" y="74"/>
                </a:lnTo>
                <a:lnTo>
                  <a:pt x="196" y="70"/>
                </a:lnTo>
                <a:lnTo>
                  <a:pt x="200" y="66"/>
                </a:lnTo>
                <a:lnTo>
                  <a:pt x="202" y="60"/>
                </a:lnTo>
                <a:lnTo>
                  <a:pt x="270" y="60"/>
                </a:lnTo>
                <a:lnTo>
                  <a:pt x="230" y="194"/>
                </a:lnTo>
                <a:lnTo>
                  <a:pt x="230" y="194"/>
                </a:lnTo>
                <a:lnTo>
                  <a:pt x="230" y="194"/>
                </a:lnTo>
                <a:lnTo>
                  <a:pt x="216" y="194"/>
                </a:lnTo>
                <a:lnTo>
                  <a:pt x="216" y="194"/>
                </a:lnTo>
                <a:lnTo>
                  <a:pt x="222" y="204"/>
                </a:lnTo>
                <a:lnTo>
                  <a:pt x="228" y="212"/>
                </a:lnTo>
                <a:lnTo>
                  <a:pt x="234" y="220"/>
                </a:lnTo>
                <a:lnTo>
                  <a:pt x="242" y="228"/>
                </a:lnTo>
                <a:lnTo>
                  <a:pt x="252" y="232"/>
                </a:lnTo>
                <a:lnTo>
                  <a:pt x="262" y="236"/>
                </a:lnTo>
                <a:lnTo>
                  <a:pt x="272" y="240"/>
                </a:lnTo>
                <a:lnTo>
                  <a:pt x="284" y="240"/>
                </a:lnTo>
                <a:lnTo>
                  <a:pt x="284" y="240"/>
                </a:lnTo>
                <a:lnTo>
                  <a:pt x="296" y="240"/>
                </a:lnTo>
                <a:lnTo>
                  <a:pt x="306" y="236"/>
                </a:lnTo>
                <a:lnTo>
                  <a:pt x="316" y="232"/>
                </a:lnTo>
                <a:lnTo>
                  <a:pt x="326" y="228"/>
                </a:lnTo>
                <a:lnTo>
                  <a:pt x="334" y="220"/>
                </a:lnTo>
                <a:lnTo>
                  <a:pt x="340" y="212"/>
                </a:lnTo>
                <a:lnTo>
                  <a:pt x="346" y="204"/>
                </a:lnTo>
                <a:lnTo>
                  <a:pt x="352" y="194"/>
                </a:lnTo>
                <a:lnTo>
                  <a:pt x="338" y="194"/>
                </a:lnTo>
                <a:close/>
                <a:moveTo>
                  <a:pt x="36" y="194"/>
                </a:moveTo>
                <a:lnTo>
                  <a:pt x="68" y="86"/>
                </a:lnTo>
                <a:lnTo>
                  <a:pt x="100" y="194"/>
                </a:lnTo>
                <a:lnTo>
                  <a:pt x="36" y="194"/>
                </a:lnTo>
                <a:close/>
                <a:moveTo>
                  <a:pt x="252" y="194"/>
                </a:moveTo>
                <a:lnTo>
                  <a:pt x="284" y="86"/>
                </a:lnTo>
                <a:lnTo>
                  <a:pt x="316" y="194"/>
                </a:lnTo>
                <a:lnTo>
                  <a:pt x="252" y="19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reeform 291">
            <a:extLst>
              <a:ext uri="{FF2B5EF4-FFF2-40B4-BE49-F238E27FC236}">
                <a16:creationId xmlns:a16="http://schemas.microsoft.com/office/drawing/2014/main" id="{905D4F8C-6A40-4E38-B538-71391F626FBA}"/>
              </a:ext>
            </a:extLst>
          </p:cNvPr>
          <p:cNvSpPr>
            <a:spLocks/>
          </p:cNvSpPr>
          <p:nvPr/>
        </p:nvSpPr>
        <p:spPr bwMode="auto">
          <a:xfrm>
            <a:off x="4346066" y="2523617"/>
            <a:ext cx="142718" cy="143667"/>
          </a:xfrm>
          <a:custGeom>
            <a:avLst/>
            <a:gdLst>
              <a:gd name="T0" fmla="*/ 108 w 124"/>
              <a:gd name="T1" fmla="*/ 0 h 122"/>
              <a:gd name="T2" fmla="*/ 38 w 124"/>
              <a:gd name="T3" fmla="*/ 0 h 122"/>
              <a:gd name="T4" fmla="*/ 38 w 124"/>
              <a:gd name="T5" fmla="*/ 0 h 122"/>
              <a:gd name="T6" fmla="*/ 32 w 124"/>
              <a:gd name="T7" fmla="*/ 0 h 122"/>
              <a:gd name="T8" fmla="*/ 28 w 124"/>
              <a:gd name="T9" fmla="*/ 4 h 122"/>
              <a:gd name="T10" fmla="*/ 24 w 124"/>
              <a:gd name="T11" fmla="*/ 8 h 122"/>
              <a:gd name="T12" fmla="*/ 24 w 124"/>
              <a:gd name="T13" fmla="*/ 14 h 122"/>
              <a:gd name="T14" fmla="*/ 24 w 124"/>
              <a:gd name="T15" fmla="*/ 20 h 122"/>
              <a:gd name="T16" fmla="*/ 26 w 124"/>
              <a:gd name="T17" fmla="*/ 24 h 122"/>
              <a:gd name="T18" fmla="*/ 32 w 124"/>
              <a:gd name="T19" fmla="*/ 28 h 122"/>
              <a:gd name="T20" fmla="*/ 38 w 124"/>
              <a:gd name="T21" fmla="*/ 28 h 122"/>
              <a:gd name="T22" fmla="*/ 74 w 124"/>
              <a:gd name="T23" fmla="*/ 28 h 122"/>
              <a:gd name="T24" fmla="*/ 6 w 124"/>
              <a:gd name="T25" fmla="*/ 96 h 122"/>
              <a:gd name="T26" fmla="*/ 6 w 124"/>
              <a:gd name="T27" fmla="*/ 96 h 122"/>
              <a:gd name="T28" fmla="*/ 2 w 124"/>
              <a:gd name="T29" fmla="*/ 102 h 122"/>
              <a:gd name="T30" fmla="*/ 0 w 124"/>
              <a:gd name="T31" fmla="*/ 108 h 122"/>
              <a:gd name="T32" fmla="*/ 2 w 124"/>
              <a:gd name="T33" fmla="*/ 114 h 122"/>
              <a:gd name="T34" fmla="*/ 6 w 124"/>
              <a:gd name="T35" fmla="*/ 118 h 122"/>
              <a:gd name="T36" fmla="*/ 10 w 124"/>
              <a:gd name="T37" fmla="*/ 122 h 122"/>
              <a:gd name="T38" fmla="*/ 16 w 124"/>
              <a:gd name="T39" fmla="*/ 122 h 122"/>
              <a:gd name="T40" fmla="*/ 22 w 124"/>
              <a:gd name="T41" fmla="*/ 122 h 122"/>
              <a:gd name="T42" fmla="*/ 28 w 124"/>
              <a:gd name="T43" fmla="*/ 118 h 122"/>
              <a:gd name="T44" fmla="*/ 94 w 124"/>
              <a:gd name="T45" fmla="*/ 50 h 122"/>
              <a:gd name="T46" fmla="*/ 94 w 124"/>
              <a:gd name="T47" fmla="*/ 86 h 122"/>
              <a:gd name="T48" fmla="*/ 94 w 124"/>
              <a:gd name="T49" fmla="*/ 86 h 122"/>
              <a:gd name="T50" fmla="*/ 96 w 124"/>
              <a:gd name="T51" fmla="*/ 92 h 122"/>
              <a:gd name="T52" fmla="*/ 100 w 124"/>
              <a:gd name="T53" fmla="*/ 96 h 122"/>
              <a:gd name="T54" fmla="*/ 104 w 124"/>
              <a:gd name="T55" fmla="*/ 100 h 122"/>
              <a:gd name="T56" fmla="*/ 110 w 124"/>
              <a:gd name="T57" fmla="*/ 100 h 122"/>
              <a:gd name="T58" fmla="*/ 114 w 124"/>
              <a:gd name="T59" fmla="*/ 100 h 122"/>
              <a:gd name="T60" fmla="*/ 120 w 124"/>
              <a:gd name="T61" fmla="*/ 96 h 122"/>
              <a:gd name="T62" fmla="*/ 124 w 124"/>
              <a:gd name="T63" fmla="*/ 92 h 122"/>
              <a:gd name="T64" fmla="*/ 124 w 124"/>
              <a:gd name="T65" fmla="*/ 86 h 122"/>
              <a:gd name="T66" fmla="*/ 124 w 124"/>
              <a:gd name="T67" fmla="*/ 16 h 122"/>
              <a:gd name="T68" fmla="*/ 124 w 124"/>
              <a:gd name="T69" fmla="*/ 16 h 122"/>
              <a:gd name="T70" fmla="*/ 124 w 124"/>
              <a:gd name="T71" fmla="*/ 10 h 122"/>
              <a:gd name="T72" fmla="*/ 120 w 124"/>
              <a:gd name="T73" fmla="*/ 4 h 122"/>
              <a:gd name="T74" fmla="*/ 114 w 124"/>
              <a:gd name="T75" fmla="*/ 0 h 122"/>
              <a:gd name="T76" fmla="*/ 108 w 124"/>
              <a:gd name="T77" fmla="*/ 0 h 122"/>
              <a:gd name="T78" fmla="*/ 108 w 124"/>
              <a:gd name="T79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4" h="122">
                <a:moveTo>
                  <a:pt x="108" y="0"/>
                </a:moveTo>
                <a:lnTo>
                  <a:pt x="38" y="0"/>
                </a:lnTo>
                <a:lnTo>
                  <a:pt x="38" y="0"/>
                </a:lnTo>
                <a:lnTo>
                  <a:pt x="32" y="0"/>
                </a:lnTo>
                <a:lnTo>
                  <a:pt x="28" y="4"/>
                </a:lnTo>
                <a:lnTo>
                  <a:pt x="24" y="8"/>
                </a:lnTo>
                <a:lnTo>
                  <a:pt x="24" y="14"/>
                </a:lnTo>
                <a:lnTo>
                  <a:pt x="24" y="20"/>
                </a:lnTo>
                <a:lnTo>
                  <a:pt x="26" y="24"/>
                </a:lnTo>
                <a:lnTo>
                  <a:pt x="32" y="28"/>
                </a:lnTo>
                <a:lnTo>
                  <a:pt x="38" y="28"/>
                </a:lnTo>
                <a:lnTo>
                  <a:pt x="74" y="28"/>
                </a:lnTo>
                <a:lnTo>
                  <a:pt x="6" y="96"/>
                </a:lnTo>
                <a:lnTo>
                  <a:pt x="6" y="96"/>
                </a:lnTo>
                <a:lnTo>
                  <a:pt x="2" y="102"/>
                </a:lnTo>
                <a:lnTo>
                  <a:pt x="0" y="108"/>
                </a:lnTo>
                <a:lnTo>
                  <a:pt x="2" y="114"/>
                </a:lnTo>
                <a:lnTo>
                  <a:pt x="6" y="118"/>
                </a:lnTo>
                <a:lnTo>
                  <a:pt x="10" y="122"/>
                </a:lnTo>
                <a:lnTo>
                  <a:pt x="16" y="122"/>
                </a:lnTo>
                <a:lnTo>
                  <a:pt x="22" y="122"/>
                </a:lnTo>
                <a:lnTo>
                  <a:pt x="28" y="118"/>
                </a:lnTo>
                <a:lnTo>
                  <a:pt x="94" y="50"/>
                </a:lnTo>
                <a:lnTo>
                  <a:pt x="94" y="86"/>
                </a:lnTo>
                <a:lnTo>
                  <a:pt x="94" y="86"/>
                </a:lnTo>
                <a:lnTo>
                  <a:pt x="96" y="92"/>
                </a:lnTo>
                <a:lnTo>
                  <a:pt x="100" y="96"/>
                </a:lnTo>
                <a:lnTo>
                  <a:pt x="104" y="100"/>
                </a:lnTo>
                <a:lnTo>
                  <a:pt x="110" y="100"/>
                </a:lnTo>
                <a:lnTo>
                  <a:pt x="114" y="100"/>
                </a:lnTo>
                <a:lnTo>
                  <a:pt x="120" y="96"/>
                </a:lnTo>
                <a:lnTo>
                  <a:pt x="124" y="92"/>
                </a:lnTo>
                <a:lnTo>
                  <a:pt x="124" y="86"/>
                </a:lnTo>
                <a:lnTo>
                  <a:pt x="124" y="16"/>
                </a:lnTo>
                <a:lnTo>
                  <a:pt x="124" y="16"/>
                </a:lnTo>
                <a:lnTo>
                  <a:pt x="124" y="10"/>
                </a:lnTo>
                <a:lnTo>
                  <a:pt x="120" y="4"/>
                </a:lnTo>
                <a:lnTo>
                  <a:pt x="114" y="0"/>
                </a:lnTo>
                <a:lnTo>
                  <a:pt x="108" y="0"/>
                </a:lnTo>
                <a:lnTo>
                  <a:pt x="108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50FEF1C7-E22A-423E-9322-E17228E98157}"/>
              </a:ext>
            </a:extLst>
          </p:cNvPr>
          <p:cNvSpPr txBox="1">
            <a:spLocks/>
          </p:cNvSpPr>
          <p:nvPr/>
        </p:nvSpPr>
        <p:spPr>
          <a:xfrm>
            <a:off x="298418" y="2278120"/>
            <a:ext cx="2226145" cy="703084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</a:t>
            </a:r>
            <a:b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ргов ежегодно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язан заключать договор на оказание услуг по регулированию эл. мощности</a:t>
            </a:r>
            <a:endParaRPr lang="en-US" sz="11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242379D-C4BB-40A5-B527-4D83CF47A715}"/>
              </a:ext>
            </a:extLst>
          </p:cNvPr>
          <p:cNvSpPr txBox="1">
            <a:spLocks/>
          </p:cNvSpPr>
          <p:nvPr/>
        </p:nvSpPr>
        <p:spPr>
          <a:xfrm>
            <a:off x="353123" y="868385"/>
            <a:ext cx="1533722" cy="533807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твержден приказом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инистра энергетики РК </a:t>
            </a: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т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3</a:t>
            </a:r>
            <a:r>
              <a:rPr lang="en-US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12.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5 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№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83</a:t>
            </a:r>
            <a:endParaRPr lang="ru-RU" sz="11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Flowchart: Decision 50">
            <a:extLst>
              <a:ext uri="{FF2B5EF4-FFF2-40B4-BE49-F238E27FC236}">
                <a16:creationId xmlns:a16="http://schemas.microsoft.com/office/drawing/2014/main" id="{D91DFA03-5734-427E-B013-0170338FC8D2}"/>
              </a:ext>
            </a:extLst>
          </p:cNvPr>
          <p:cNvSpPr/>
          <p:nvPr/>
        </p:nvSpPr>
        <p:spPr>
          <a:xfrm>
            <a:off x="113633" y="1708026"/>
            <a:ext cx="161690" cy="161689"/>
          </a:xfrm>
          <a:prstGeom prst="flowChartDecision">
            <a:avLst/>
          </a:prstGeom>
          <a:solidFill>
            <a:srgbClr val="75BD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50FEF1C7-E22A-423E-9322-E17228E98157}"/>
              </a:ext>
            </a:extLst>
          </p:cNvPr>
          <p:cNvSpPr txBox="1">
            <a:spLocks/>
          </p:cNvSpPr>
          <p:nvPr/>
        </p:nvSpPr>
        <p:spPr>
          <a:xfrm>
            <a:off x="4909687" y="874074"/>
            <a:ext cx="2218043" cy="703084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торгов участвует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балансирующем </a:t>
            </a:r>
            <a:b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ынке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электрической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энергии</a:t>
            </a:r>
            <a:endParaRPr lang="en-US" sz="11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Flowchart: Decision 48">
            <a:extLst>
              <a:ext uri="{FF2B5EF4-FFF2-40B4-BE49-F238E27FC236}">
                <a16:creationId xmlns:a16="http://schemas.microsoft.com/office/drawing/2014/main" id="{89D60039-8839-4A7E-A4A9-811115247101}"/>
              </a:ext>
            </a:extLst>
          </p:cNvPr>
          <p:cNvSpPr/>
          <p:nvPr/>
        </p:nvSpPr>
        <p:spPr>
          <a:xfrm>
            <a:off x="89310" y="2325046"/>
            <a:ext cx="161690" cy="161689"/>
          </a:xfrm>
          <a:prstGeom prst="flowChartDecision">
            <a:avLst/>
          </a:prstGeom>
          <a:solidFill>
            <a:srgbClr val="58B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4" name="Rectangle 49">
            <a:extLst>
              <a:ext uri="{FF2B5EF4-FFF2-40B4-BE49-F238E27FC236}">
                <a16:creationId xmlns:a16="http://schemas.microsoft.com/office/drawing/2014/main" id="{2D193AEA-210F-44B8-8732-2CD608DB8972}"/>
              </a:ext>
            </a:extLst>
          </p:cNvPr>
          <p:cNvSpPr/>
          <p:nvPr/>
        </p:nvSpPr>
        <p:spPr>
          <a:xfrm>
            <a:off x="231408" y="3257175"/>
            <a:ext cx="290569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ндивидуальный тариф на услугу по поддержанию готовности электрической мощности,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рок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услуги победителя аукционных торгов не подлежат корректировке в сторону увеличения. </a:t>
            </a:r>
          </a:p>
        </p:txBody>
      </p:sp>
      <p:sp>
        <p:nvSpPr>
          <p:cNvPr id="35" name="Flowchart: Decision 43">
            <a:extLst>
              <a:ext uri="{FF2B5EF4-FFF2-40B4-BE49-F238E27FC236}">
                <a16:creationId xmlns:a16="http://schemas.microsoft.com/office/drawing/2014/main" id="{8FCC1D7D-7620-43F4-BC1F-653415BB64F9}"/>
              </a:ext>
            </a:extLst>
          </p:cNvPr>
          <p:cNvSpPr/>
          <p:nvPr/>
        </p:nvSpPr>
        <p:spPr>
          <a:xfrm>
            <a:off x="48622" y="3354148"/>
            <a:ext cx="151312" cy="161689"/>
          </a:xfrm>
          <a:prstGeom prst="flowChartDecision">
            <a:avLst/>
          </a:prstGeom>
          <a:solidFill>
            <a:srgbClr val="7A8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6" name="Flowchart: Decision 37">
            <a:extLst>
              <a:ext uri="{FF2B5EF4-FFF2-40B4-BE49-F238E27FC236}">
                <a16:creationId xmlns:a16="http://schemas.microsoft.com/office/drawing/2014/main" id="{BA72C30E-58F0-4C54-A0F9-634DC6A53AEA}"/>
              </a:ext>
            </a:extLst>
          </p:cNvPr>
          <p:cNvSpPr/>
          <p:nvPr/>
        </p:nvSpPr>
        <p:spPr>
          <a:xfrm>
            <a:off x="4676418" y="3319593"/>
            <a:ext cx="161690" cy="161689"/>
          </a:xfrm>
          <a:prstGeom prst="flowChartDecision">
            <a:avLst/>
          </a:prstGeom>
          <a:solidFill>
            <a:srgbClr val="2683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40" name="Rectangle 49">
            <a:extLst>
              <a:ext uri="{FF2B5EF4-FFF2-40B4-BE49-F238E27FC236}">
                <a16:creationId xmlns:a16="http://schemas.microsoft.com/office/drawing/2014/main" id="{2D193AEA-210F-44B8-8732-2CD608DB8972}"/>
              </a:ext>
            </a:extLst>
          </p:cNvPr>
          <p:cNvSpPr/>
          <p:nvPr/>
        </p:nvSpPr>
        <p:spPr>
          <a:xfrm>
            <a:off x="4824583" y="3226526"/>
            <a:ext cx="202690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ля 1 вида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– наименьшая аукционная цена, становится тарифом, определенная по итогам данных аукционных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ргов. </a:t>
            </a:r>
          </a:p>
          <a:p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908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5B12D08-A232-1645-A105-2BC5ED0B58EB}"/>
              </a:ext>
            </a:extLst>
          </p:cNvPr>
          <p:cNvCxnSpPr>
            <a:cxnSpLocks/>
          </p:cNvCxnSpPr>
          <p:nvPr/>
        </p:nvCxnSpPr>
        <p:spPr>
          <a:xfrm flipH="1">
            <a:off x="670386" y="1617811"/>
            <a:ext cx="2427262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0D95A8B-ED8B-ED4B-B38D-A8C8F01AB926}"/>
              </a:ext>
            </a:extLst>
          </p:cNvPr>
          <p:cNvCxnSpPr>
            <a:cxnSpLocks/>
          </p:cNvCxnSpPr>
          <p:nvPr/>
        </p:nvCxnSpPr>
        <p:spPr>
          <a:xfrm flipH="1">
            <a:off x="3760352" y="1617811"/>
            <a:ext cx="2427262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7CBC00E3-1825-374A-86B8-61E465BBAFF4}"/>
              </a:ext>
            </a:extLst>
          </p:cNvPr>
          <p:cNvSpPr/>
          <p:nvPr/>
        </p:nvSpPr>
        <p:spPr>
          <a:xfrm>
            <a:off x="533187" y="1955200"/>
            <a:ext cx="332271" cy="3322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7BBF6B3-C1B8-F04B-B236-056E681C8686}"/>
              </a:ext>
            </a:extLst>
          </p:cNvPr>
          <p:cNvSpPr/>
          <p:nvPr/>
        </p:nvSpPr>
        <p:spPr>
          <a:xfrm>
            <a:off x="549566" y="2657742"/>
            <a:ext cx="332271" cy="33227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02CE3C2-9AFA-2B4E-B584-8600E2F56B94}"/>
              </a:ext>
            </a:extLst>
          </p:cNvPr>
          <p:cNvSpPr/>
          <p:nvPr/>
        </p:nvSpPr>
        <p:spPr>
          <a:xfrm>
            <a:off x="560458" y="3578408"/>
            <a:ext cx="332271" cy="33227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F626941-A6D6-FF4E-980B-4AE2A33FFD99}"/>
              </a:ext>
            </a:extLst>
          </p:cNvPr>
          <p:cNvSpPr/>
          <p:nvPr/>
        </p:nvSpPr>
        <p:spPr>
          <a:xfrm>
            <a:off x="3736969" y="1955711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296CEF1-85A7-A74A-A8F3-1ECA62EA1014}"/>
              </a:ext>
            </a:extLst>
          </p:cNvPr>
          <p:cNvSpPr/>
          <p:nvPr/>
        </p:nvSpPr>
        <p:spPr>
          <a:xfrm>
            <a:off x="3775970" y="2686823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44B8134-C858-4C4F-AF30-5EEEEF41E482}"/>
              </a:ext>
            </a:extLst>
          </p:cNvPr>
          <p:cNvSpPr/>
          <p:nvPr/>
        </p:nvSpPr>
        <p:spPr>
          <a:xfrm>
            <a:off x="3779791" y="3227682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Chevron 21">
            <a:extLst>
              <a:ext uri="{FF2B5EF4-FFF2-40B4-BE49-F238E27FC236}">
                <a16:creationId xmlns:a16="http://schemas.microsoft.com/office/drawing/2014/main" id="{78BAEA5B-153C-AD4A-ADAD-46DC67630261}"/>
              </a:ext>
            </a:extLst>
          </p:cNvPr>
          <p:cNvSpPr/>
          <p:nvPr/>
        </p:nvSpPr>
        <p:spPr>
          <a:xfrm>
            <a:off x="1151823" y="1483259"/>
            <a:ext cx="1464388" cy="27237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Chevron 22">
            <a:extLst>
              <a:ext uri="{FF2B5EF4-FFF2-40B4-BE49-F238E27FC236}">
                <a16:creationId xmlns:a16="http://schemas.microsoft.com/office/drawing/2014/main" id="{729A5A60-6423-0F4E-B487-91401DB41310}"/>
              </a:ext>
            </a:extLst>
          </p:cNvPr>
          <p:cNvSpPr/>
          <p:nvPr/>
        </p:nvSpPr>
        <p:spPr>
          <a:xfrm flipH="1">
            <a:off x="4242470" y="1483259"/>
            <a:ext cx="1463707" cy="272374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2277C497-87F2-A641-BC52-14D950F2715E}"/>
              </a:ext>
            </a:extLst>
          </p:cNvPr>
          <p:cNvSpPr/>
          <p:nvPr/>
        </p:nvSpPr>
        <p:spPr>
          <a:xfrm>
            <a:off x="3191023" y="1376806"/>
            <a:ext cx="237977" cy="483060"/>
          </a:xfrm>
          <a:custGeom>
            <a:avLst/>
            <a:gdLst>
              <a:gd name="connsiteX0" fmla="*/ 845921 w 845921"/>
              <a:gd name="connsiteY0" fmla="*/ 0 h 1717099"/>
              <a:gd name="connsiteX1" fmla="*/ 845921 w 845921"/>
              <a:gd name="connsiteY1" fmla="*/ 1717099 h 1717099"/>
              <a:gd name="connsiteX2" fmla="*/ 771371 w 845921"/>
              <a:gd name="connsiteY2" fmla="*/ 1713334 h 1717099"/>
              <a:gd name="connsiteX3" fmla="*/ 0 w 845921"/>
              <a:gd name="connsiteY3" fmla="*/ 858549 h 1717099"/>
              <a:gd name="connsiteX4" fmla="*/ 771371 w 845921"/>
              <a:gd name="connsiteY4" fmla="*/ 3764 h 1717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921" h="1717099">
                <a:moveTo>
                  <a:pt x="845921" y="0"/>
                </a:moveTo>
                <a:lnTo>
                  <a:pt x="845921" y="1717099"/>
                </a:lnTo>
                <a:lnTo>
                  <a:pt x="771371" y="1713334"/>
                </a:lnTo>
                <a:cubicBezTo>
                  <a:pt x="338103" y="1669333"/>
                  <a:pt x="0" y="1303426"/>
                  <a:pt x="0" y="858549"/>
                </a:cubicBezTo>
                <a:cubicBezTo>
                  <a:pt x="0" y="413673"/>
                  <a:pt x="338103" y="47765"/>
                  <a:pt x="771371" y="3764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5B513782-EF45-1D4F-8B5B-EE5D50DD5412}"/>
              </a:ext>
            </a:extLst>
          </p:cNvPr>
          <p:cNvSpPr/>
          <p:nvPr/>
        </p:nvSpPr>
        <p:spPr>
          <a:xfrm rot="10800000">
            <a:off x="3429001" y="1376806"/>
            <a:ext cx="237977" cy="483060"/>
          </a:xfrm>
          <a:custGeom>
            <a:avLst/>
            <a:gdLst>
              <a:gd name="connsiteX0" fmla="*/ 845921 w 845921"/>
              <a:gd name="connsiteY0" fmla="*/ 0 h 1717099"/>
              <a:gd name="connsiteX1" fmla="*/ 845921 w 845921"/>
              <a:gd name="connsiteY1" fmla="*/ 1717099 h 1717099"/>
              <a:gd name="connsiteX2" fmla="*/ 771371 w 845921"/>
              <a:gd name="connsiteY2" fmla="*/ 1713334 h 1717099"/>
              <a:gd name="connsiteX3" fmla="*/ 0 w 845921"/>
              <a:gd name="connsiteY3" fmla="*/ 858549 h 1717099"/>
              <a:gd name="connsiteX4" fmla="*/ 771371 w 845921"/>
              <a:gd name="connsiteY4" fmla="*/ 3764 h 1717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921" h="1717099">
                <a:moveTo>
                  <a:pt x="845921" y="0"/>
                </a:moveTo>
                <a:lnTo>
                  <a:pt x="845921" y="1717099"/>
                </a:lnTo>
                <a:lnTo>
                  <a:pt x="771371" y="1713334"/>
                </a:lnTo>
                <a:cubicBezTo>
                  <a:pt x="338103" y="1669333"/>
                  <a:pt x="0" y="1303426"/>
                  <a:pt x="0" y="858549"/>
                </a:cubicBezTo>
                <a:cubicBezTo>
                  <a:pt x="0" y="413673"/>
                  <a:pt x="338103" y="47765"/>
                  <a:pt x="771371" y="376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4CD9035-784F-724E-8B63-0B36B9F21497}"/>
              </a:ext>
            </a:extLst>
          </p:cNvPr>
          <p:cNvCxnSpPr>
            <a:cxnSpLocks/>
          </p:cNvCxnSpPr>
          <p:nvPr/>
        </p:nvCxnSpPr>
        <p:spPr>
          <a:xfrm flipH="1">
            <a:off x="3421719" y="1951613"/>
            <a:ext cx="7281" cy="2548129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CBF749C7-3947-124A-8E78-FCF5767165A9}"/>
              </a:ext>
            </a:extLst>
          </p:cNvPr>
          <p:cNvSpPr txBox="1">
            <a:spLocks/>
          </p:cNvSpPr>
          <p:nvPr/>
        </p:nvSpPr>
        <p:spPr>
          <a:xfrm>
            <a:off x="1038913" y="1913827"/>
            <a:ext cx="2124116" cy="364529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ключить договор покупки с победителем на </a:t>
            </a:r>
            <a:r>
              <a:rPr lang="kk-KZ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5 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лет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8BDA0FC2-2D2A-EF4D-BC48-E898D1DBBE98}"/>
              </a:ext>
            </a:extLst>
          </p:cNvPr>
          <p:cNvSpPr txBox="1">
            <a:spLocks/>
          </p:cNvSpPr>
          <p:nvPr/>
        </p:nvSpPr>
        <p:spPr>
          <a:xfrm>
            <a:off x="1034405" y="2403451"/>
            <a:ext cx="2124117" cy="923657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жемесячно оплачивать энергопроизводящей организации  оказанный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ъем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уги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 поддержанию готовности электрической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ощности в соответствии с Правилами рынка мощност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FECBB0CB-AA25-8D49-A987-5BE45C32A576}"/>
              </a:ext>
            </a:extLst>
          </p:cNvPr>
          <p:cNvSpPr txBox="1">
            <a:spLocks/>
          </p:cNvSpPr>
          <p:nvPr/>
        </p:nvSpPr>
        <p:spPr>
          <a:xfrm>
            <a:off x="1034405" y="3436825"/>
            <a:ext cx="2137178" cy="1085753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ернуть финансовое обеспечение исполнения условий договора или его части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случае ввода в эксплуатацию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генерирующих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тановок с маневренным режимом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генерации в</a:t>
            </a:r>
            <a:r>
              <a:rPr lang="kk-KZ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тановленные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сроки</a:t>
            </a:r>
          </a:p>
          <a:p>
            <a:pPr algn="l">
              <a:lnSpc>
                <a:spcPts val="985"/>
              </a:lnSpc>
            </a:pP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F7AC84C5-CF41-6F43-B1B1-3DC00BD4CB97}"/>
              </a:ext>
            </a:extLst>
          </p:cNvPr>
          <p:cNvSpPr txBox="1">
            <a:spLocks/>
          </p:cNvSpPr>
          <p:nvPr/>
        </p:nvSpPr>
        <p:spPr>
          <a:xfrm>
            <a:off x="4189813" y="1888147"/>
            <a:ext cx="2342573" cy="415890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воевременно ввести в экслуатацию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генерирующую установку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 маневренным режимом генераци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4708E119-EA15-B640-97F1-E99263C32B8A}"/>
              </a:ext>
            </a:extLst>
          </p:cNvPr>
          <p:cNvSpPr txBox="1">
            <a:spLocks/>
          </p:cNvSpPr>
          <p:nvPr/>
        </p:nvSpPr>
        <p:spPr>
          <a:xfrm>
            <a:off x="4175588" y="4250836"/>
            <a:ext cx="2225009" cy="740081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ts val="985"/>
              </a:lnSpc>
              <a:spcBef>
                <a:spcPts val="0"/>
              </a:spcBef>
            </a:pPr>
            <a:r>
              <a:rPr lang="ru-RU" sz="1100" i="1" dirty="0">
                <a:solidFill>
                  <a:srgbClr val="2683C6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ля </a:t>
            </a:r>
            <a:r>
              <a:rPr lang="ru-RU" sz="1100" i="1" dirty="0" smtClean="0">
                <a:solidFill>
                  <a:srgbClr val="2683C6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 </a:t>
            </a:r>
            <a:r>
              <a:rPr lang="ru-RU" sz="1100" i="1" dirty="0">
                <a:solidFill>
                  <a:srgbClr val="2683C6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ида аукционных торгов</a:t>
            </a:r>
          </a:p>
          <a:p>
            <a:pPr algn="l">
              <a:lnSpc>
                <a:spcPts val="985"/>
              </a:lnSpc>
            </a:pP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озместить РФЦ понесенные затраты на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азработку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едварительного ТЭО </a:t>
            </a:r>
          </a:p>
          <a:p>
            <a:pPr algn="l">
              <a:lnSpc>
                <a:spcPts val="985"/>
              </a:lnSpc>
            </a:pP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6F6A9778-CDB7-8542-BEA7-F4E4E85FA722}"/>
              </a:ext>
            </a:extLst>
          </p:cNvPr>
          <p:cNvSpPr txBox="1">
            <a:spLocks/>
          </p:cNvSpPr>
          <p:nvPr/>
        </p:nvSpPr>
        <p:spPr>
          <a:xfrm>
            <a:off x="4194098" y="2568259"/>
            <a:ext cx="2229290" cy="544130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едоставить Единому закупщику финансовое обеспечение исполнения условий 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говора 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установленные срок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CBF6C0E-7DE5-FC41-8940-644E34B76DE8}"/>
              </a:ext>
            </a:extLst>
          </p:cNvPr>
          <p:cNvSpPr txBox="1"/>
          <p:nvPr/>
        </p:nvSpPr>
        <p:spPr>
          <a:xfrm>
            <a:off x="1107204" y="1484291"/>
            <a:ext cx="1602382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 </a:t>
            </a:r>
            <a:r>
              <a:rPr lang="ru-RU" sz="900" b="1" dirty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диный закупщик </a:t>
            </a:r>
            <a:r>
              <a:rPr lang="ru-RU" sz="9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язан</a:t>
            </a:r>
            <a:endParaRPr lang="en-US" sz="900" i="1" kern="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900" b="1" dirty="0">
              <a:solidFill>
                <a:schemeClr val="bg1"/>
              </a:solidFill>
              <a:latin typeface="Calibri Light" panose="020F0302020204030204" pitchFamily="34" charset="0"/>
              <a:ea typeface="League Spartan" charset="0"/>
              <a:cs typeface="Calibri Light" panose="020F030202020403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725B544-4E10-B54E-822C-7EEA5EF1AADA}"/>
              </a:ext>
            </a:extLst>
          </p:cNvPr>
          <p:cNvSpPr txBox="1"/>
          <p:nvPr/>
        </p:nvSpPr>
        <p:spPr>
          <a:xfrm>
            <a:off x="4511358" y="1484291"/>
            <a:ext cx="925253" cy="2308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убъект обязан</a:t>
            </a:r>
            <a:endParaRPr lang="en-US" sz="900" b="1" dirty="0">
              <a:solidFill>
                <a:schemeClr val="bg1"/>
              </a:solidFill>
              <a:latin typeface="Calibri Light" panose="020F0302020204030204" pitchFamily="34" charset="0"/>
              <a:ea typeface="League Spartan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36A81D-1728-4B02-A1C7-31B132132765}"/>
              </a:ext>
            </a:extLst>
          </p:cNvPr>
          <p:cNvSpPr/>
          <p:nvPr/>
        </p:nvSpPr>
        <p:spPr>
          <a:xfrm>
            <a:off x="805656" y="50698"/>
            <a:ext cx="58160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лючевые обязанности сторон договора</a:t>
            </a:r>
            <a:r>
              <a:rPr lang="en-US" sz="200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услуги по поддержанию готовности электрической мощности</a:t>
            </a:r>
          </a:p>
        </p:txBody>
      </p:sp>
      <p:sp>
        <p:nvSpPr>
          <p:cNvPr id="45" name="Freeform 4831">
            <a:extLst>
              <a:ext uri="{FF2B5EF4-FFF2-40B4-BE49-F238E27FC236}">
                <a16:creationId xmlns:a16="http://schemas.microsoft.com/office/drawing/2014/main" id="{2F2E6F21-91EC-4A8C-B2F5-7A301890CDE1}"/>
              </a:ext>
            </a:extLst>
          </p:cNvPr>
          <p:cNvSpPr>
            <a:spLocks noEditPoints="1"/>
          </p:cNvSpPr>
          <p:nvPr/>
        </p:nvSpPr>
        <p:spPr bwMode="auto">
          <a:xfrm>
            <a:off x="606330" y="2059641"/>
            <a:ext cx="210779" cy="137987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Freeform 4803">
            <a:extLst>
              <a:ext uri="{FF2B5EF4-FFF2-40B4-BE49-F238E27FC236}">
                <a16:creationId xmlns:a16="http://schemas.microsoft.com/office/drawing/2014/main" id="{059F45C9-FE1C-4E40-B32C-C5FD6027481D}"/>
              </a:ext>
            </a:extLst>
          </p:cNvPr>
          <p:cNvSpPr>
            <a:spLocks noEditPoints="1"/>
          </p:cNvSpPr>
          <p:nvPr/>
        </p:nvSpPr>
        <p:spPr bwMode="auto">
          <a:xfrm>
            <a:off x="606330" y="2718879"/>
            <a:ext cx="185592" cy="189584"/>
          </a:xfrm>
          <a:custGeom>
            <a:avLst/>
            <a:gdLst>
              <a:gd name="T0" fmla="*/ 372 w 376"/>
              <a:gd name="T1" fmla="*/ 98 h 274"/>
              <a:gd name="T2" fmla="*/ 344 w 376"/>
              <a:gd name="T3" fmla="*/ 74 h 274"/>
              <a:gd name="T4" fmla="*/ 334 w 376"/>
              <a:gd name="T5" fmla="*/ 68 h 274"/>
              <a:gd name="T6" fmla="*/ 254 w 376"/>
              <a:gd name="T7" fmla="*/ 80 h 274"/>
              <a:gd name="T8" fmla="*/ 210 w 376"/>
              <a:gd name="T9" fmla="*/ 68 h 274"/>
              <a:gd name="T10" fmla="*/ 6 w 376"/>
              <a:gd name="T11" fmla="*/ 136 h 274"/>
              <a:gd name="T12" fmla="*/ 4 w 376"/>
              <a:gd name="T13" fmla="*/ 170 h 274"/>
              <a:gd name="T14" fmla="*/ 30 w 376"/>
              <a:gd name="T15" fmla="*/ 194 h 274"/>
              <a:gd name="T16" fmla="*/ 4 w 376"/>
              <a:gd name="T17" fmla="*/ 220 h 274"/>
              <a:gd name="T18" fmla="*/ 198 w 376"/>
              <a:gd name="T19" fmla="*/ 250 h 274"/>
              <a:gd name="T20" fmla="*/ 272 w 376"/>
              <a:gd name="T21" fmla="*/ 274 h 274"/>
              <a:gd name="T22" fmla="*/ 346 w 376"/>
              <a:gd name="T23" fmla="*/ 246 h 274"/>
              <a:gd name="T24" fmla="*/ 322 w 376"/>
              <a:gd name="T25" fmla="*/ 252 h 274"/>
              <a:gd name="T26" fmla="*/ 220 w 376"/>
              <a:gd name="T27" fmla="*/ 252 h 274"/>
              <a:gd name="T28" fmla="*/ 196 w 376"/>
              <a:gd name="T29" fmla="*/ 232 h 274"/>
              <a:gd name="T30" fmla="*/ 148 w 376"/>
              <a:gd name="T31" fmla="*/ 234 h 274"/>
              <a:gd name="T32" fmla="*/ 200 w 376"/>
              <a:gd name="T33" fmla="*/ 220 h 274"/>
              <a:gd name="T34" fmla="*/ 300 w 376"/>
              <a:gd name="T35" fmla="*/ 236 h 274"/>
              <a:gd name="T36" fmla="*/ 346 w 376"/>
              <a:gd name="T37" fmla="*/ 196 h 274"/>
              <a:gd name="T38" fmla="*/ 308 w 376"/>
              <a:gd name="T39" fmla="*/ 220 h 274"/>
              <a:gd name="T40" fmla="*/ 210 w 376"/>
              <a:gd name="T41" fmla="*/ 210 h 274"/>
              <a:gd name="T42" fmla="*/ 196 w 376"/>
              <a:gd name="T43" fmla="*/ 196 h 274"/>
              <a:gd name="T44" fmla="*/ 150 w 376"/>
              <a:gd name="T45" fmla="*/ 200 h 274"/>
              <a:gd name="T46" fmla="*/ 202 w 376"/>
              <a:gd name="T47" fmla="*/ 184 h 274"/>
              <a:gd name="T48" fmla="*/ 318 w 376"/>
              <a:gd name="T49" fmla="*/ 196 h 274"/>
              <a:gd name="T50" fmla="*/ 374 w 376"/>
              <a:gd name="T51" fmla="*/ 162 h 274"/>
              <a:gd name="T52" fmla="*/ 374 w 376"/>
              <a:gd name="T53" fmla="*/ 130 h 274"/>
              <a:gd name="T54" fmla="*/ 248 w 376"/>
              <a:gd name="T55" fmla="*/ 94 h 274"/>
              <a:gd name="T56" fmla="*/ 342 w 376"/>
              <a:gd name="T57" fmla="*/ 78 h 274"/>
              <a:gd name="T58" fmla="*/ 334 w 376"/>
              <a:gd name="T59" fmla="*/ 104 h 274"/>
              <a:gd name="T60" fmla="*/ 238 w 376"/>
              <a:gd name="T61" fmla="*/ 114 h 274"/>
              <a:gd name="T62" fmla="*/ 200 w 376"/>
              <a:gd name="T63" fmla="*/ 96 h 274"/>
              <a:gd name="T64" fmla="*/ 202 w 376"/>
              <a:gd name="T65" fmla="*/ 114 h 274"/>
              <a:gd name="T66" fmla="*/ 294 w 376"/>
              <a:gd name="T67" fmla="*/ 130 h 274"/>
              <a:gd name="T68" fmla="*/ 346 w 376"/>
              <a:gd name="T69" fmla="*/ 124 h 274"/>
              <a:gd name="T70" fmla="*/ 338 w 376"/>
              <a:gd name="T71" fmla="*/ 136 h 274"/>
              <a:gd name="T72" fmla="*/ 272 w 376"/>
              <a:gd name="T73" fmla="*/ 152 h 274"/>
              <a:gd name="T74" fmla="*/ 214 w 376"/>
              <a:gd name="T75" fmla="*/ 142 h 274"/>
              <a:gd name="T76" fmla="*/ 198 w 376"/>
              <a:gd name="T77" fmla="*/ 118 h 274"/>
              <a:gd name="T78" fmla="*/ 134 w 376"/>
              <a:gd name="T79" fmla="*/ 150 h 274"/>
              <a:gd name="T80" fmla="*/ 100 w 376"/>
              <a:gd name="T81" fmla="*/ 136 h 274"/>
              <a:gd name="T82" fmla="*/ 158 w 376"/>
              <a:gd name="T83" fmla="*/ 128 h 274"/>
              <a:gd name="T84" fmla="*/ 162 w 376"/>
              <a:gd name="T85" fmla="*/ 144 h 274"/>
              <a:gd name="T86" fmla="*/ 346 w 376"/>
              <a:gd name="T87" fmla="*/ 162 h 274"/>
              <a:gd name="T88" fmla="*/ 342 w 376"/>
              <a:gd name="T89" fmla="*/ 168 h 274"/>
              <a:gd name="T90" fmla="*/ 322 w 376"/>
              <a:gd name="T91" fmla="*/ 180 h 274"/>
              <a:gd name="T92" fmla="*/ 220 w 376"/>
              <a:gd name="T93" fmla="*/ 180 h 274"/>
              <a:gd name="T94" fmla="*/ 200 w 376"/>
              <a:gd name="T95" fmla="*/ 168 h 274"/>
              <a:gd name="T96" fmla="*/ 198 w 376"/>
              <a:gd name="T97" fmla="*/ 154 h 274"/>
              <a:gd name="T98" fmla="*/ 272 w 376"/>
              <a:gd name="T99" fmla="*/ 166 h 274"/>
              <a:gd name="T100" fmla="*/ 346 w 376"/>
              <a:gd name="T101" fmla="*/ 160 h 274"/>
              <a:gd name="T102" fmla="*/ 196 w 376"/>
              <a:gd name="T103" fmla="*/ 28 h 274"/>
              <a:gd name="T104" fmla="*/ 272 w 376"/>
              <a:gd name="T105" fmla="*/ 0 h 274"/>
              <a:gd name="T106" fmla="*/ 344 w 376"/>
              <a:gd name="T107" fmla="*/ 24 h 274"/>
              <a:gd name="T108" fmla="*/ 322 w 376"/>
              <a:gd name="T109" fmla="*/ 50 h 274"/>
              <a:gd name="T110" fmla="*/ 220 w 376"/>
              <a:gd name="T111" fmla="*/ 5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6" h="274">
                <a:moveTo>
                  <a:pt x="376" y="126"/>
                </a:moveTo>
                <a:lnTo>
                  <a:pt x="376" y="126"/>
                </a:lnTo>
                <a:lnTo>
                  <a:pt x="374" y="122"/>
                </a:lnTo>
                <a:lnTo>
                  <a:pt x="370" y="120"/>
                </a:lnTo>
                <a:lnTo>
                  <a:pt x="346" y="110"/>
                </a:lnTo>
                <a:lnTo>
                  <a:pt x="372" y="98"/>
                </a:lnTo>
                <a:lnTo>
                  <a:pt x="372" y="98"/>
                </a:lnTo>
                <a:lnTo>
                  <a:pt x="376" y="96"/>
                </a:lnTo>
                <a:lnTo>
                  <a:pt x="376" y="92"/>
                </a:lnTo>
                <a:lnTo>
                  <a:pt x="376" y="92"/>
                </a:lnTo>
                <a:lnTo>
                  <a:pt x="376" y="86"/>
                </a:lnTo>
                <a:lnTo>
                  <a:pt x="372" y="84"/>
                </a:lnTo>
                <a:lnTo>
                  <a:pt x="344" y="74"/>
                </a:lnTo>
                <a:lnTo>
                  <a:pt x="344" y="74"/>
                </a:lnTo>
                <a:lnTo>
                  <a:pt x="346" y="70"/>
                </a:lnTo>
                <a:lnTo>
                  <a:pt x="346" y="66"/>
                </a:lnTo>
                <a:lnTo>
                  <a:pt x="346" y="52"/>
                </a:lnTo>
                <a:lnTo>
                  <a:pt x="346" y="52"/>
                </a:lnTo>
                <a:lnTo>
                  <a:pt x="346" y="56"/>
                </a:lnTo>
                <a:lnTo>
                  <a:pt x="344" y="60"/>
                </a:lnTo>
                <a:lnTo>
                  <a:pt x="334" y="68"/>
                </a:lnTo>
                <a:lnTo>
                  <a:pt x="334" y="68"/>
                </a:lnTo>
                <a:lnTo>
                  <a:pt x="322" y="72"/>
                </a:lnTo>
                <a:lnTo>
                  <a:pt x="308" y="76"/>
                </a:lnTo>
                <a:lnTo>
                  <a:pt x="290" y="80"/>
                </a:lnTo>
                <a:lnTo>
                  <a:pt x="272" y="80"/>
                </a:lnTo>
                <a:lnTo>
                  <a:pt x="272" y="80"/>
                </a:lnTo>
                <a:lnTo>
                  <a:pt x="254" y="80"/>
                </a:lnTo>
                <a:lnTo>
                  <a:pt x="238" y="78"/>
                </a:lnTo>
                <a:lnTo>
                  <a:pt x="226" y="74"/>
                </a:lnTo>
                <a:lnTo>
                  <a:pt x="214" y="70"/>
                </a:lnTo>
                <a:lnTo>
                  <a:pt x="214" y="70"/>
                </a:lnTo>
                <a:lnTo>
                  <a:pt x="214" y="70"/>
                </a:lnTo>
                <a:lnTo>
                  <a:pt x="210" y="68"/>
                </a:lnTo>
                <a:lnTo>
                  <a:pt x="210" y="68"/>
                </a:lnTo>
                <a:lnTo>
                  <a:pt x="200" y="60"/>
                </a:lnTo>
                <a:lnTo>
                  <a:pt x="198" y="56"/>
                </a:lnTo>
                <a:lnTo>
                  <a:pt x="196" y="52"/>
                </a:lnTo>
                <a:lnTo>
                  <a:pt x="196" y="52"/>
                </a:lnTo>
                <a:lnTo>
                  <a:pt x="198" y="46"/>
                </a:lnTo>
                <a:lnTo>
                  <a:pt x="6" y="136"/>
                </a:lnTo>
                <a:lnTo>
                  <a:pt x="6" y="136"/>
                </a:lnTo>
                <a:lnTo>
                  <a:pt x="2" y="138"/>
                </a:lnTo>
                <a:lnTo>
                  <a:pt x="2" y="142"/>
                </a:lnTo>
                <a:lnTo>
                  <a:pt x="2" y="142"/>
                </a:lnTo>
                <a:lnTo>
                  <a:pt x="2" y="148"/>
                </a:lnTo>
                <a:lnTo>
                  <a:pt x="6" y="150"/>
                </a:lnTo>
                <a:lnTo>
                  <a:pt x="30" y="158"/>
                </a:lnTo>
                <a:lnTo>
                  <a:pt x="4" y="170"/>
                </a:lnTo>
                <a:lnTo>
                  <a:pt x="4" y="170"/>
                </a:lnTo>
                <a:lnTo>
                  <a:pt x="2" y="174"/>
                </a:lnTo>
                <a:lnTo>
                  <a:pt x="0" y="178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30" y="194"/>
                </a:lnTo>
                <a:lnTo>
                  <a:pt x="4" y="206"/>
                </a:lnTo>
                <a:lnTo>
                  <a:pt x="4" y="206"/>
                </a:lnTo>
                <a:lnTo>
                  <a:pt x="0" y="208"/>
                </a:lnTo>
                <a:lnTo>
                  <a:pt x="0" y="212"/>
                </a:lnTo>
                <a:lnTo>
                  <a:pt x="0" y="212"/>
                </a:lnTo>
                <a:lnTo>
                  <a:pt x="0" y="218"/>
                </a:lnTo>
                <a:lnTo>
                  <a:pt x="4" y="220"/>
                </a:lnTo>
                <a:lnTo>
                  <a:pt x="148" y="270"/>
                </a:lnTo>
                <a:lnTo>
                  <a:pt x="148" y="270"/>
                </a:lnTo>
                <a:lnTo>
                  <a:pt x="150" y="270"/>
                </a:lnTo>
                <a:lnTo>
                  <a:pt x="150" y="270"/>
                </a:lnTo>
                <a:lnTo>
                  <a:pt x="154" y="270"/>
                </a:lnTo>
                <a:lnTo>
                  <a:pt x="198" y="250"/>
                </a:lnTo>
                <a:lnTo>
                  <a:pt x="198" y="250"/>
                </a:lnTo>
                <a:lnTo>
                  <a:pt x="200" y="254"/>
                </a:lnTo>
                <a:lnTo>
                  <a:pt x="206" y="258"/>
                </a:lnTo>
                <a:lnTo>
                  <a:pt x="212" y="264"/>
                </a:lnTo>
                <a:lnTo>
                  <a:pt x="222" y="266"/>
                </a:lnTo>
                <a:lnTo>
                  <a:pt x="244" y="272"/>
                </a:lnTo>
                <a:lnTo>
                  <a:pt x="272" y="274"/>
                </a:lnTo>
                <a:lnTo>
                  <a:pt x="272" y="274"/>
                </a:lnTo>
                <a:lnTo>
                  <a:pt x="300" y="272"/>
                </a:lnTo>
                <a:lnTo>
                  <a:pt x="314" y="270"/>
                </a:lnTo>
                <a:lnTo>
                  <a:pt x="324" y="266"/>
                </a:lnTo>
                <a:lnTo>
                  <a:pt x="334" y="262"/>
                </a:lnTo>
                <a:lnTo>
                  <a:pt x="340" y="256"/>
                </a:lnTo>
                <a:lnTo>
                  <a:pt x="344" y="252"/>
                </a:lnTo>
                <a:lnTo>
                  <a:pt x="346" y="246"/>
                </a:lnTo>
                <a:lnTo>
                  <a:pt x="346" y="230"/>
                </a:lnTo>
                <a:lnTo>
                  <a:pt x="346" y="230"/>
                </a:lnTo>
                <a:lnTo>
                  <a:pt x="346" y="236"/>
                </a:lnTo>
                <a:lnTo>
                  <a:pt x="344" y="240"/>
                </a:lnTo>
                <a:lnTo>
                  <a:pt x="334" y="246"/>
                </a:lnTo>
                <a:lnTo>
                  <a:pt x="334" y="246"/>
                </a:lnTo>
                <a:lnTo>
                  <a:pt x="322" y="252"/>
                </a:lnTo>
                <a:lnTo>
                  <a:pt x="308" y="256"/>
                </a:lnTo>
                <a:lnTo>
                  <a:pt x="290" y="258"/>
                </a:lnTo>
                <a:lnTo>
                  <a:pt x="272" y="260"/>
                </a:lnTo>
                <a:lnTo>
                  <a:pt x="272" y="260"/>
                </a:lnTo>
                <a:lnTo>
                  <a:pt x="252" y="258"/>
                </a:lnTo>
                <a:lnTo>
                  <a:pt x="236" y="256"/>
                </a:lnTo>
                <a:lnTo>
                  <a:pt x="220" y="252"/>
                </a:lnTo>
                <a:lnTo>
                  <a:pt x="210" y="246"/>
                </a:lnTo>
                <a:lnTo>
                  <a:pt x="210" y="246"/>
                </a:lnTo>
                <a:lnTo>
                  <a:pt x="206" y="244"/>
                </a:lnTo>
                <a:lnTo>
                  <a:pt x="206" y="244"/>
                </a:lnTo>
                <a:lnTo>
                  <a:pt x="206" y="244"/>
                </a:lnTo>
                <a:lnTo>
                  <a:pt x="200" y="238"/>
                </a:lnTo>
                <a:lnTo>
                  <a:pt x="196" y="232"/>
                </a:lnTo>
                <a:lnTo>
                  <a:pt x="196" y="232"/>
                </a:lnTo>
                <a:lnTo>
                  <a:pt x="196" y="230"/>
                </a:lnTo>
                <a:lnTo>
                  <a:pt x="196" y="232"/>
                </a:lnTo>
                <a:lnTo>
                  <a:pt x="150" y="254"/>
                </a:lnTo>
                <a:lnTo>
                  <a:pt x="28" y="212"/>
                </a:lnTo>
                <a:lnTo>
                  <a:pt x="52" y="200"/>
                </a:lnTo>
                <a:lnTo>
                  <a:pt x="148" y="234"/>
                </a:lnTo>
                <a:lnTo>
                  <a:pt x="148" y="234"/>
                </a:lnTo>
                <a:lnTo>
                  <a:pt x="152" y="234"/>
                </a:lnTo>
                <a:lnTo>
                  <a:pt x="152" y="234"/>
                </a:lnTo>
                <a:lnTo>
                  <a:pt x="154" y="234"/>
                </a:lnTo>
                <a:lnTo>
                  <a:pt x="198" y="214"/>
                </a:lnTo>
                <a:lnTo>
                  <a:pt x="198" y="214"/>
                </a:lnTo>
                <a:lnTo>
                  <a:pt x="200" y="220"/>
                </a:lnTo>
                <a:lnTo>
                  <a:pt x="206" y="224"/>
                </a:lnTo>
                <a:lnTo>
                  <a:pt x="214" y="228"/>
                </a:lnTo>
                <a:lnTo>
                  <a:pt x="222" y="232"/>
                </a:lnTo>
                <a:lnTo>
                  <a:pt x="246" y="236"/>
                </a:lnTo>
                <a:lnTo>
                  <a:pt x="272" y="238"/>
                </a:lnTo>
                <a:lnTo>
                  <a:pt x="272" y="238"/>
                </a:lnTo>
                <a:lnTo>
                  <a:pt x="300" y="236"/>
                </a:lnTo>
                <a:lnTo>
                  <a:pt x="314" y="234"/>
                </a:lnTo>
                <a:lnTo>
                  <a:pt x="324" y="230"/>
                </a:lnTo>
                <a:lnTo>
                  <a:pt x="334" y="226"/>
                </a:lnTo>
                <a:lnTo>
                  <a:pt x="340" y="220"/>
                </a:lnTo>
                <a:lnTo>
                  <a:pt x="344" y="216"/>
                </a:lnTo>
                <a:lnTo>
                  <a:pt x="346" y="210"/>
                </a:lnTo>
                <a:lnTo>
                  <a:pt x="346" y="196"/>
                </a:lnTo>
                <a:lnTo>
                  <a:pt x="346" y="196"/>
                </a:lnTo>
                <a:lnTo>
                  <a:pt x="346" y="200"/>
                </a:lnTo>
                <a:lnTo>
                  <a:pt x="344" y="204"/>
                </a:lnTo>
                <a:lnTo>
                  <a:pt x="334" y="210"/>
                </a:lnTo>
                <a:lnTo>
                  <a:pt x="334" y="210"/>
                </a:lnTo>
                <a:lnTo>
                  <a:pt x="322" y="216"/>
                </a:lnTo>
                <a:lnTo>
                  <a:pt x="308" y="220"/>
                </a:lnTo>
                <a:lnTo>
                  <a:pt x="290" y="222"/>
                </a:lnTo>
                <a:lnTo>
                  <a:pt x="272" y="224"/>
                </a:lnTo>
                <a:lnTo>
                  <a:pt x="272" y="224"/>
                </a:lnTo>
                <a:lnTo>
                  <a:pt x="252" y="222"/>
                </a:lnTo>
                <a:lnTo>
                  <a:pt x="236" y="220"/>
                </a:lnTo>
                <a:lnTo>
                  <a:pt x="220" y="216"/>
                </a:lnTo>
                <a:lnTo>
                  <a:pt x="210" y="210"/>
                </a:lnTo>
                <a:lnTo>
                  <a:pt x="210" y="210"/>
                </a:lnTo>
                <a:lnTo>
                  <a:pt x="208" y="210"/>
                </a:lnTo>
                <a:lnTo>
                  <a:pt x="208" y="210"/>
                </a:lnTo>
                <a:lnTo>
                  <a:pt x="200" y="204"/>
                </a:lnTo>
                <a:lnTo>
                  <a:pt x="198" y="198"/>
                </a:lnTo>
                <a:lnTo>
                  <a:pt x="198" y="198"/>
                </a:lnTo>
                <a:lnTo>
                  <a:pt x="196" y="196"/>
                </a:lnTo>
                <a:lnTo>
                  <a:pt x="196" y="198"/>
                </a:lnTo>
                <a:lnTo>
                  <a:pt x="152" y="218"/>
                </a:lnTo>
                <a:lnTo>
                  <a:pt x="72" y="192"/>
                </a:lnTo>
                <a:lnTo>
                  <a:pt x="50" y="184"/>
                </a:lnTo>
                <a:lnTo>
                  <a:pt x="28" y="176"/>
                </a:lnTo>
                <a:lnTo>
                  <a:pt x="52" y="166"/>
                </a:lnTo>
                <a:lnTo>
                  <a:pt x="150" y="200"/>
                </a:lnTo>
                <a:lnTo>
                  <a:pt x="150" y="200"/>
                </a:lnTo>
                <a:lnTo>
                  <a:pt x="152" y="200"/>
                </a:lnTo>
                <a:lnTo>
                  <a:pt x="152" y="200"/>
                </a:lnTo>
                <a:lnTo>
                  <a:pt x="156" y="200"/>
                </a:lnTo>
                <a:lnTo>
                  <a:pt x="198" y="180"/>
                </a:lnTo>
                <a:lnTo>
                  <a:pt x="198" y="180"/>
                </a:lnTo>
                <a:lnTo>
                  <a:pt x="202" y="184"/>
                </a:lnTo>
                <a:lnTo>
                  <a:pt x="208" y="188"/>
                </a:lnTo>
                <a:lnTo>
                  <a:pt x="224" y="196"/>
                </a:lnTo>
                <a:lnTo>
                  <a:pt x="246" y="200"/>
                </a:lnTo>
                <a:lnTo>
                  <a:pt x="272" y="202"/>
                </a:lnTo>
                <a:lnTo>
                  <a:pt x="272" y="202"/>
                </a:lnTo>
                <a:lnTo>
                  <a:pt x="296" y="200"/>
                </a:lnTo>
                <a:lnTo>
                  <a:pt x="318" y="196"/>
                </a:lnTo>
                <a:lnTo>
                  <a:pt x="334" y="190"/>
                </a:lnTo>
                <a:lnTo>
                  <a:pt x="340" y="186"/>
                </a:lnTo>
                <a:lnTo>
                  <a:pt x="344" y="180"/>
                </a:lnTo>
                <a:lnTo>
                  <a:pt x="370" y="168"/>
                </a:lnTo>
                <a:lnTo>
                  <a:pt x="370" y="168"/>
                </a:lnTo>
                <a:lnTo>
                  <a:pt x="374" y="166"/>
                </a:lnTo>
                <a:lnTo>
                  <a:pt x="374" y="162"/>
                </a:lnTo>
                <a:lnTo>
                  <a:pt x="374" y="162"/>
                </a:lnTo>
                <a:lnTo>
                  <a:pt x="374" y="156"/>
                </a:lnTo>
                <a:lnTo>
                  <a:pt x="370" y="154"/>
                </a:lnTo>
                <a:lnTo>
                  <a:pt x="346" y="146"/>
                </a:lnTo>
                <a:lnTo>
                  <a:pt x="372" y="134"/>
                </a:lnTo>
                <a:lnTo>
                  <a:pt x="372" y="134"/>
                </a:lnTo>
                <a:lnTo>
                  <a:pt x="374" y="130"/>
                </a:lnTo>
                <a:lnTo>
                  <a:pt x="376" y="126"/>
                </a:lnTo>
                <a:lnTo>
                  <a:pt x="376" y="126"/>
                </a:lnTo>
                <a:close/>
                <a:moveTo>
                  <a:pt x="202" y="78"/>
                </a:moveTo>
                <a:lnTo>
                  <a:pt x="202" y="78"/>
                </a:lnTo>
                <a:lnTo>
                  <a:pt x="214" y="84"/>
                </a:lnTo>
                <a:lnTo>
                  <a:pt x="230" y="90"/>
                </a:lnTo>
                <a:lnTo>
                  <a:pt x="248" y="94"/>
                </a:lnTo>
                <a:lnTo>
                  <a:pt x="272" y="96"/>
                </a:lnTo>
                <a:lnTo>
                  <a:pt x="272" y="96"/>
                </a:lnTo>
                <a:lnTo>
                  <a:pt x="294" y="94"/>
                </a:lnTo>
                <a:lnTo>
                  <a:pt x="314" y="90"/>
                </a:lnTo>
                <a:lnTo>
                  <a:pt x="330" y="84"/>
                </a:lnTo>
                <a:lnTo>
                  <a:pt x="342" y="78"/>
                </a:lnTo>
                <a:lnTo>
                  <a:pt x="342" y="78"/>
                </a:lnTo>
                <a:lnTo>
                  <a:pt x="346" y="82"/>
                </a:lnTo>
                <a:lnTo>
                  <a:pt x="346" y="88"/>
                </a:lnTo>
                <a:lnTo>
                  <a:pt x="346" y="88"/>
                </a:lnTo>
                <a:lnTo>
                  <a:pt x="346" y="92"/>
                </a:lnTo>
                <a:lnTo>
                  <a:pt x="344" y="96"/>
                </a:lnTo>
                <a:lnTo>
                  <a:pt x="334" y="104"/>
                </a:lnTo>
                <a:lnTo>
                  <a:pt x="334" y="104"/>
                </a:lnTo>
                <a:lnTo>
                  <a:pt x="322" y="108"/>
                </a:lnTo>
                <a:lnTo>
                  <a:pt x="308" y="112"/>
                </a:lnTo>
                <a:lnTo>
                  <a:pt x="290" y="116"/>
                </a:lnTo>
                <a:lnTo>
                  <a:pt x="272" y="116"/>
                </a:lnTo>
                <a:lnTo>
                  <a:pt x="272" y="116"/>
                </a:lnTo>
                <a:lnTo>
                  <a:pt x="254" y="116"/>
                </a:lnTo>
                <a:lnTo>
                  <a:pt x="238" y="114"/>
                </a:lnTo>
                <a:lnTo>
                  <a:pt x="226" y="110"/>
                </a:lnTo>
                <a:lnTo>
                  <a:pt x="214" y="106"/>
                </a:lnTo>
                <a:lnTo>
                  <a:pt x="214" y="106"/>
                </a:lnTo>
                <a:lnTo>
                  <a:pt x="214" y="106"/>
                </a:lnTo>
                <a:lnTo>
                  <a:pt x="210" y="104"/>
                </a:lnTo>
                <a:lnTo>
                  <a:pt x="210" y="104"/>
                </a:lnTo>
                <a:lnTo>
                  <a:pt x="200" y="96"/>
                </a:lnTo>
                <a:lnTo>
                  <a:pt x="198" y="92"/>
                </a:lnTo>
                <a:lnTo>
                  <a:pt x="196" y="88"/>
                </a:lnTo>
                <a:lnTo>
                  <a:pt x="196" y="88"/>
                </a:lnTo>
                <a:lnTo>
                  <a:pt x="198" y="82"/>
                </a:lnTo>
                <a:lnTo>
                  <a:pt x="202" y="78"/>
                </a:lnTo>
                <a:lnTo>
                  <a:pt x="202" y="78"/>
                </a:lnTo>
                <a:close/>
                <a:moveTo>
                  <a:pt x="202" y="114"/>
                </a:moveTo>
                <a:lnTo>
                  <a:pt x="202" y="114"/>
                </a:lnTo>
                <a:lnTo>
                  <a:pt x="214" y="120"/>
                </a:lnTo>
                <a:lnTo>
                  <a:pt x="230" y="126"/>
                </a:lnTo>
                <a:lnTo>
                  <a:pt x="248" y="130"/>
                </a:lnTo>
                <a:lnTo>
                  <a:pt x="272" y="130"/>
                </a:lnTo>
                <a:lnTo>
                  <a:pt x="272" y="130"/>
                </a:lnTo>
                <a:lnTo>
                  <a:pt x="294" y="130"/>
                </a:lnTo>
                <a:lnTo>
                  <a:pt x="314" y="126"/>
                </a:lnTo>
                <a:lnTo>
                  <a:pt x="330" y="120"/>
                </a:lnTo>
                <a:lnTo>
                  <a:pt x="342" y="114"/>
                </a:lnTo>
                <a:lnTo>
                  <a:pt x="342" y="114"/>
                </a:lnTo>
                <a:lnTo>
                  <a:pt x="346" y="118"/>
                </a:lnTo>
                <a:lnTo>
                  <a:pt x="346" y="124"/>
                </a:lnTo>
                <a:lnTo>
                  <a:pt x="346" y="124"/>
                </a:lnTo>
                <a:lnTo>
                  <a:pt x="346" y="128"/>
                </a:lnTo>
                <a:lnTo>
                  <a:pt x="346" y="128"/>
                </a:lnTo>
                <a:lnTo>
                  <a:pt x="342" y="132"/>
                </a:lnTo>
                <a:lnTo>
                  <a:pt x="342" y="132"/>
                </a:lnTo>
                <a:lnTo>
                  <a:pt x="340" y="134"/>
                </a:lnTo>
                <a:lnTo>
                  <a:pt x="340" y="134"/>
                </a:lnTo>
                <a:lnTo>
                  <a:pt x="338" y="136"/>
                </a:lnTo>
                <a:lnTo>
                  <a:pt x="338" y="136"/>
                </a:lnTo>
                <a:lnTo>
                  <a:pt x="334" y="140"/>
                </a:lnTo>
                <a:lnTo>
                  <a:pt x="334" y="140"/>
                </a:lnTo>
                <a:lnTo>
                  <a:pt x="322" y="144"/>
                </a:lnTo>
                <a:lnTo>
                  <a:pt x="308" y="148"/>
                </a:lnTo>
                <a:lnTo>
                  <a:pt x="290" y="150"/>
                </a:lnTo>
                <a:lnTo>
                  <a:pt x="272" y="152"/>
                </a:lnTo>
                <a:lnTo>
                  <a:pt x="272" y="152"/>
                </a:lnTo>
                <a:lnTo>
                  <a:pt x="254" y="152"/>
                </a:lnTo>
                <a:lnTo>
                  <a:pt x="238" y="148"/>
                </a:lnTo>
                <a:lnTo>
                  <a:pt x="226" y="146"/>
                </a:lnTo>
                <a:lnTo>
                  <a:pt x="214" y="142"/>
                </a:lnTo>
                <a:lnTo>
                  <a:pt x="214" y="142"/>
                </a:lnTo>
                <a:lnTo>
                  <a:pt x="214" y="142"/>
                </a:lnTo>
                <a:lnTo>
                  <a:pt x="210" y="140"/>
                </a:lnTo>
                <a:lnTo>
                  <a:pt x="210" y="140"/>
                </a:lnTo>
                <a:lnTo>
                  <a:pt x="200" y="132"/>
                </a:lnTo>
                <a:lnTo>
                  <a:pt x="198" y="128"/>
                </a:lnTo>
                <a:lnTo>
                  <a:pt x="196" y="124"/>
                </a:lnTo>
                <a:lnTo>
                  <a:pt x="196" y="124"/>
                </a:lnTo>
                <a:lnTo>
                  <a:pt x="198" y="118"/>
                </a:lnTo>
                <a:lnTo>
                  <a:pt x="202" y="114"/>
                </a:lnTo>
                <a:lnTo>
                  <a:pt x="202" y="114"/>
                </a:lnTo>
                <a:close/>
                <a:moveTo>
                  <a:pt x="162" y="144"/>
                </a:moveTo>
                <a:lnTo>
                  <a:pt x="162" y="144"/>
                </a:lnTo>
                <a:lnTo>
                  <a:pt x="150" y="150"/>
                </a:lnTo>
                <a:lnTo>
                  <a:pt x="134" y="150"/>
                </a:lnTo>
                <a:lnTo>
                  <a:pt x="134" y="150"/>
                </a:lnTo>
                <a:lnTo>
                  <a:pt x="116" y="150"/>
                </a:lnTo>
                <a:lnTo>
                  <a:pt x="104" y="144"/>
                </a:lnTo>
                <a:lnTo>
                  <a:pt x="104" y="144"/>
                </a:lnTo>
                <a:lnTo>
                  <a:pt x="100" y="142"/>
                </a:lnTo>
                <a:lnTo>
                  <a:pt x="98" y="138"/>
                </a:lnTo>
                <a:lnTo>
                  <a:pt x="98" y="138"/>
                </a:lnTo>
                <a:lnTo>
                  <a:pt x="100" y="136"/>
                </a:lnTo>
                <a:lnTo>
                  <a:pt x="102" y="132"/>
                </a:lnTo>
                <a:lnTo>
                  <a:pt x="110" y="128"/>
                </a:lnTo>
                <a:lnTo>
                  <a:pt x="120" y="126"/>
                </a:lnTo>
                <a:lnTo>
                  <a:pt x="134" y="124"/>
                </a:lnTo>
                <a:lnTo>
                  <a:pt x="134" y="124"/>
                </a:lnTo>
                <a:lnTo>
                  <a:pt x="148" y="126"/>
                </a:lnTo>
                <a:lnTo>
                  <a:pt x="158" y="128"/>
                </a:lnTo>
                <a:lnTo>
                  <a:pt x="166" y="132"/>
                </a:lnTo>
                <a:lnTo>
                  <a:pt x="168" y="136"/>
                </a:lnTo>
                <a:lnTo>
                  <a:pt x="168" y="138"/>
                </a:lnTo>
                <a:lnTo>
                  <a:pt x="168" y="138"/>
                </a:lnTo>
                <a:lnTo>
                  <a:pt x="166" y="142"/>
                </a:lnTo>
                <a:lnTo>
                  <a:pt x="162" y="144"/>
                </a:lnTo>
                <a:lnTo>
                  <a:pt x="162" y="144"/>
                </a:lnTo>
                <a:close/>
                <a:moveTo>
                  <a:pt x="346" y="160"/>
                </a:moveTo>
                <a:lnTo>
                  <a:pt x="346" y="160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2" y="168"/>
                </a:lnTo>
                <a:lnTo>
                  <a:pt x="342" y="168"/>
                </a:lnTo>
                <a:lnTo>
                  <a:pt x="340" y="170"/>
                </a:lnTo>
                <a:lnTo>
                  <a:pt x="340" y="170"/>
                </a:lnTo>
                <a:lnTo>
                  <a:pt x="338" y="172"/>
                </a:lnTo>
                <a:lnTo>
                  <a:pt x="338" y="172"/>
                </a:lnTo>
                <a:lnTo>
                  <a:pt x="334" y="174"/>
                </a:lnTo>
                <a:lnTo>
                  <a:pt x="334" y="174"/>
                </a:lnTo>
                <a:lnTo>
                  <a:pt x="322" y="180"/>
                </a:lnTo>
                <a:lnTo>
                  <a:pt x="308" y="184"/>
                </a:lnTo>
                <a:lnTo>
                  <a:pt x="290" y="186"/>
                </a:lnTo>
                <a:lnTo>
                  <a:pt x="272" y="188"/>
                </a:lnTo>
                <a:lnTo>
                  <a:pt x="272" y="188"/>
                </a:lnTo>
                <a:lnTo>
                  <a:pt x="252" y="186"/>
                </a:lnTo>
                <a:lnTo>
                  <a:pt x="236" y="184"/>
                </a:lnTo>
                <a:lnTo>
                  <a:pt x="220" y="180"/>
                </a:lnTo>
                <a:lnTo>
                  <a:pt x="210" y="174"/>
                </a:lnTo>
                <a:lnTo>
                  <a:pt x="210" y="174"/>
                </a:lnTo>
                <a:lnTo>
                  <a:pt x="208" y="174"/>
                </a:lnTo>
                <a:lnTo>
                  <a:pt x="208" y="174"/>
                </a:lnTo>
                <a:lnTo>
                  <a:pt x="208" y="174"/>
                </a:lnTo>
                <a:lnTo>
                  <a:pt x="200" y="168"/>
                </a:lnTo>
                <a:lnTo>
                  <a:pt x="200" y="168"/>
                </a:lnTo>
                <a:lnTo>
                  <a:pt x="200" y="166"/>
                </a:lnTo>
                <a:lnTo>
                  <a:pt x="200" y="166"/>
                </a:lnTo>
                <a:lnTo>
                  <a:pt x="198" y="164"/>
                </a:lnTo>
                <a:lnTo>
                  <a:pt x="198" y="164"/>
                </a:lnTo>
                <a:lnTo>
                  <a:pt x="196" y="160"/>
                </a:lnTo>
                <a:lnTo>
                  <a:pt x="196" y="160"/>
                </a:lnTo>
                <a:lnTo>
                  <a:pt x="198" y="154"/>
                </a:lnTo>
                <a:lnTo>
                  <a:pt x="202" y="148"/>
                </a:lnTo>
                <a:lnTo>
                  <a:pt x="202" y="148"/>
                </a:lnTo>
                <a:lnTo>
                  <a:pt x="214" y="156"/>
                </a:lnTo>
                <a:lnTo>
                  <a:pt x="230" y="162"/>
                </a:lnTo>
                <a:lnTo>
                  <a:pt x="248" y="166"/>
                </a:lnTo>
                <a:lnTo>
                  <a:pt x="272" y="166"/>
                </a:lnTo>
                <a:lnTo>
                  <a:pt x="272" y="166"/>
                </a:lnTo>
                <a:lnTo>
                  <a:pt x="294" y="166"/>
                </a:lnTo>
                <a:lnTo>
                  <a:pt x="314" y="162"/>
                </a:lnTo>
                <a:lnTo>
                  <a:pt x="330" y="156"/>
                </a:lnTo>
                <a:lnTo>
                  <a:pt x="342" y="148"/>
                </a:lnTo>
                <a:lnTo>
                  <a:pt x="342" y="148"/>
                </a:lnTo>
                <a:lnTo>
                  <a:pt x="346" y="154"/>
                </a:lnTo>
                <a:lnTo>
                  <a:pt x="346" y="160"/>
                </a:lnTo>
                <a:lnTo>
                  <a:pt x="346" y="160"/>
                </a:lnTo>
                <a:close/>
                <a:moveTo>
                  <a:pt x="346" y="128"/>
                </a:moveTo>
                <a:lnTo>
                  <a:pt x="346" y="128"/>
                </a:lnTo>
                <a:lnTo>
                  <a:pt x="348" y="128"/>
                </a:lnTo>
                <a:lnTo>
                  <a:pt x="346" y="128"/>
                </a:lnTo>
                <a:close/>
                <a:moveTo>
                  <a:pt x="196" y="28"/>
                </a:moveTo>
                <a:lnTo>
                  <a:pt x="196" y="28"/>
                </a:lnTo>
                <a:lnTo>
                  <a:pt x="198" y="24"/>
                </a:lnTo>
                <a:lnTo>
                  <a:pt x="202" y="18"/>
                </a:lnTo>
                <a:lnTo>
                  <a:pt x="210" y="14"/>
                </a:lnTo>
                <a:lnTo>
                  <a:pt x="218" y="8"/>
                </a:lnTo>
                <a:lnTo>
                  <a:pt x="230" y="6"/>
                </a:lnTo>
                <a:lnTo>
                  <a:pt x="242" y="2"/>
                </a:lnTo>
                <a:lnTo>
                  <a:pt x="272" y="0"/>
                </a:lnTo>
                <a:lnTo>
                  <a:pt x="272" y="0"/>
                </a:lnTo>
                <a:lnTo>
                  <a:pt x="300" y="2"/>
                </a:lnTo>
                <a:lnTo>
                  <a:pt x="314" y="6"/>
                </a:lnTo>
                <a:lnTo>
                  <a:pt x="324" y="8"/>
                </a:lnTo>
                <a:lnTo>
                  <a:pt x="334" y="14"/>
                </a:lnTo>
                <a:lnTo>
                  <a:pt x="340" y="18"/>
                </a:lnTo>
                <a:lnTo>
                  <a:pt x="344" y="24"/>
                </a:lnTo>
                <a:lnTo>
                  <a:pt x="346" y="28"/>
                </a:lnTo>
                <a:lnTo>
                  <a:pt x="346" y="28"/>
                </a:lnTo>
                <a:lnTo>
                  <a:pt x="346" y="34"/>
                </a:lnTo>
                <a:lnTo>
                  <a:pt x="344" y="38"/>
                </a:lnTo>
                <a:lnTo>
                  <a:pt x="334" y="44"/>
                </a:lnTo>
                <a:lnTo>
                  <a:pt x="334" y="44"/>
                </a:lnTo>
                <a:lnTo>
                  <a:pt x="322" y="50"/>
                </a:lnTo>
                <a:lnTo>
                  <a:pt x="308" y="54"/>
                </a:lnTo>
                <a:lnTo>
                  <a:pt x="290" y="56"/>
                </a:lnTo>
                <a:lnTo>
                  <a:pt x="272" y="58"/>
                </a:lnTo>
                <a:lnTo>
                  <a:pt x="272" y="58"/>
                </a:lnTo>
                <a:lnTo>
                  <a:pt x="252" y="56"/>
                </a:lnTo>
                <a:lnTo>
                  <a:pt x="236" y="54"/>
                </a:lnTo>
                <a:lnTo>
                  <a:pt x="220" y="50"/>
                </a:lnTo>
                <a:lnTo>
                  <a:pt x="210" y="44"/>
                </a:lnTo>
                <a:lnTo>
                  <a:pt x="210" y="44"/>
                </a:lnTo>
                <a:lnTo>
                  <a:pt x="200" y="38"/>
                </a:lnTo>
                <a:lnTo>
                  <a:pt x="198" y="34"/>
                </a:lnTo>
                <a:lnTo>
                  <a:pt x="196" y="28"/>
                </a:lnTo>
                <a:lnTo>
                  <a:pt x="196" y="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2" name="Freeform 4811">
            <a:extLst>
              <a:ext uri="{FF2B5EF4-FFF2-40B4-BE49-F238E27FC236}">
                <a16:creationId xmlns:a16="http://schemas.microsoft.com/office/drawing/2014/main" id="{D60B8E6B-A001-468B-962C-049253F61D13}"/>
              </a:ext>
            </a:extLst>
          </p:cNvPr>
          <p:cNvSpPr>
            <a:spLocks noEditPoints="1"/>
          </p:cNvSpPr>
          <p:nvPr/>
        </p:nvSpPr>
        <p:spPr bwMode="auto">
          <a:xfrm>
            <a:off x="609737" y="3641799"/>
            <a:ext cx="212395" cy="205491"/>
          </a:xfrm>
          <a:custGeom>
            <a:avLst/>
            <a:gdLst>
              <a:gd name="T0" fmla="*/ 108 w 314"/>
              <a:gd name="T1" fmla="*/ 262 h 402"/>
              <a:gd name="T2" fmla="*/ 96 w 314"/>
              <a:gd name="T3" fmla="*/ 242 h 402"/>
              <a:gd name="T4" fmla="*/ 102 w 314"/>
              <a:gd name="T5" fmla="*/ 228 h 402"/>
              <a:gd name="T6" fmla="*/ 160 w 314"/>
              <a:gd name="T7" fmla="*/ 222 h 402"/>
              <a:gd name="T8" fmla="*/ 130 w 314"/>
              <a:gd name="T9" fmla="*/ 276 h 402"/>
              <a:gd name="T10" fmla="*/ 116 w 314"/>
              <a:gd name="T11" fmla="*/ 282 h 402"/>
              <a:gd name="T12" fmla="*/ 110 w 314"/>
              <a:gd name="T13" fmla="*/ 298 h 402"/>
              <a:gd name="T14" fmla="*/ 122 w 314"/>
              <a:gd name="T15" fmla="*/ 316 h 402"/>
              <a:gd name="T16" fmla="*/ 146 w 314"/>
              <a:gd name="T17" fmla="*/ 318 h 402"/>
              <a:gd name="T18" fmla="*/ 160 w 314"/>
              <a:gd name="T19" fmla="*/ 286 h 402"/>
              <a:gd name="T20" fmla="*/ 300 w 314"/>
              <a:gd name="T21" fmla="*/ 134 h 402"/>
              <a:gd name="T22" fmla="*/ 296 w 314"/>
              <a:gd name="T23" fmla="*/ 162 h 402"/>
              <a:gd name="T24" fmla="*/ 302 w 314"/>
              <a:gd name="T25" fmla="*/ 180 h 402"/>
              <a:gd name="T26" fmla="*/ 246 w 314"/>
              <a:gd name="T27" fmla="*/ 402 h 402"/>
              <a:gd name="T28" fmla="*/ 218 w 314"/>
              <a:gd name="T29" fmla="*/ 400 h 402"/>
              <a:gd name="T30" fmla="*/ 184 w 314"/>
              <a:gd name="T31" fmla="*/ 382 h 402"/>
              <a:gd name="T32" fmla="*/ 164 w 314"/>
              <a:gd name="T33" fmla="*/ 346 h 402"/>
              <a:gd name="T34" fmla="*/ 164 w 314"/>
              <a:gd name="T35" fmla="*/ 320 h 402"/>
              <a:gd name="T36" fmla="*/ 178 w 314"/>
              <a:gd name="T37" fmla="*/ 290 h 402"/>
              <a:gd name="T38" fmla="*/ 6 w 314"/>
              <a:gd name="T39" fmla="*/ 154 h 402"/>
              <a:gd name="T40" fmla="*/ 2 w 314"/>
              <a:gd name="T41" fmla="*/ 150 h 402"/>
              <a:gd name="T42" fmla="*/ 0 w 314"/>
              <a:gd name="T43" fmla="*/ 142 h 402"/>
              <a:gd name="T44" fmla="*/ 38 w 314"/>
              <a:gd name="T45" fmla="*/ 38 h 402"/>
              <a:gd name="T46" fmla="*/ 50 w 314"/>
              <a:gd name="T47" fmla="*/ 6 h 402"/>
              <a:gd name="T48" fmla="*/ 56 w 314"/>
              <a:gd name="T49" fmla="*/ 0 h 402"/>
              <a:gd name="T50" fmla="*/ 306 w 314"/>
              <a:gd name="T51" fmla="*/ 88 h 402"/>
              <a:gd name="T52" fmla="*/ 312 w 314"/>
              <a:gd name="T53" fmla="*/ 94 h 402"/>
              <a:gd name="T54" fmla="*/ 312 w 314"/>
              <a:gd name="T55" fmla="*/ 102 h 402"/>
              <a:gd name="T56" fmla="*/ 300 w 314"/>
              <a:gd name="T57" fmla="*/ 134 h 402"/>
              <a:gd name="T58" fmla="*/ 300 w 314"/>
              <a:gd name="T59" fmla="*/ 134 h 402"/>
              <a:gd name="T60" fmla="*/ 290 w 314"/>
              <a:gd name="T61" fmla="*/ 104 h 402"/>
              <a:gd name="T62" fmla="*/ 232 w 314"/>
              <a:gd name="T63" fmla="*/ 208 h 402"/>
              <a:gd name="T64" fmla="*/ 246 w 314"/>
              <a:gd name="T65" fmla="*/ 220 h 402"/>
              <a:gd name="T66" fmla="*/ 54 w 314"/>
              <a:gd name="T67" fmla="*/ 54 h 402"/>
              <a:gd name="T68" fmla="*/ 180 w 314"/>
              <a:gd name="T69" fmla="*/ 196 h 402"/>
              <a:gd name="T70" fmla="*/ 196 w 314"/>
              <a:gd name="T71" fmla="*/ 180 h 402"/>
              <a:gd name="T72" fmla="*/ 216 w 314"/>
              <a:gd name="T73" fmla="*/ 182 h 402"/>
              <a:gd name="T74" fmla="*/ 232 w 314"/>
              <a:gd name="T75" fmla="*/ 208 h 402"/>
              <a:gd name="T76" fmla="*/ 246 w 314"/>
              <a:gd name="T77" fmla="*/ 242 h 402"/>
              <a:gd name="T78" fmla="*/ 232 w 314"/>
              <a:gd name="T79" fmla="*/ 262 h 402"/>
              <a:gd name="T80" fmla="*/ 254 w 314"/>
              <a:gd name="T81" fmla="*/ 164 h 402"/>
              <a:gd name="T82" fmla="*/ 260 w 314"/>
              <a:gd name="T83" fmla="*/ 152 h 402"/>
              <a:gd name="T84" fmla="*/ 254 w 314"/>
              <a:gd name="T85" fmla="*/ 140 h 402"/>
              <a:gd name="T86" fmla="*/ 244 w 314"/>
              <a:gd name="T87" fmla="*/ 136 h 402"/>
              <a:gd name="T88" fmla="*/ 232 w 314"/>
              <a:gd name="T89" fmla="*/ 140 h 402"/>
              <a:gd name="T90" fmla="*/ 228 w 314"/>
              <a:gd name="T91" fmla="*/ 152 h 402"/>
              <a:gd name="T92" fmla="*/ 232 w 314"/>
              <a:gd name="T93" fmla="*/ 164 h 402"/>
              <a:gd name="T94" fmla="*/ 244 w 314"/>
              <a:gd name="T95" fmla="*/ 168 h 402"/>
              <a:gd name="T96" fmla="*/ 254 w 314"/>
              <a:gd name="T97" fmla="*/ 164 h 402"/>
              <a:gd name="T98" fmla="*/ 98 w 314"/>
              <a:gd name="T99" fmla="*/ 84 h 402"/>
              <a:gd name="T100" fmla="*/ 108 w 314"/>
              <a:gd name="T101" fmla="*/ 102 h 402"/>
              <a:gd name="T102" fmla="*/ 112 w 314"/>
              <a:gd name="T103" fmla="*/ 90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14" h="402">
                <a:moveTo>
                  <a:pt x="116" y="262"/>
                </a:moveTo>
                <a:lnTo>
                  <a:pt x="116" y="262"/>
                </a:lnTo>
                <a:lnTo>
                  <a:pt x="108" y="262"/>
                </a:lnTo>
                <a:lnTo>
                  <a:pt x="102" y="256"/>
                </a:lnTo>
                <a:lnTo>
                  <a:pt x="98" y="250"/>
                </a:lnTo>
                <a:lnTo>
                  <a:pt x="96" y="242"/>
                </a:lnTo>
                <a:lnTo>
                  <a:pt x="96" y="242"/>
                </a:lnTo>
                <a:lnTo>
                  <a:pt x="98" y="234"/>
                </a:lnTo>
                <a:lnTo>
                  <a:pt x="102" y="228"/>
                </a:lnTo>
                <a:lnTo>
                  <a:pt x="108" y="222"/>
                </a:lnTo>
                <a:lnTo>
                  <a:pt x="116" y="222"/>
                </a:lnTo>
                <a:lnTo>
                  <a:pt x="160" y="222"/>
                </a:lnTo>
                <a:lnTo>
                  <a:pt x="160" y="262"/>
                </a:lnTo>
                <a:lnTo>
                  <a:pt x="116" y="262"/>
                </a:lnTo>
                <a:close/>
                <a:moveTo>
                  <a:pt x="130" y="276"/>
                </a:moveTo>
                <a:lnTo>
                  <a:pt x="130" y="276"/>
                </a:lnTo>
                <a:lnTo>
                  <a:pt x="122" y="278"/>
                </a:lnTo>
                <a:lnTo>
                  <a:pt x="116" y="282"/>
                </a:lnTo>
                <a:lnTo>
                  <a:pt x="112" y="290"/>
                </a:lnTo>
                <a:lnTo>
                  <a:pt x="110" y="298"/>
                </a:lnTo>
                <a:lnTo>
                  <a:pt x="110" y="298"/>
                </a:lnTo>
                <a:lnTo>
                  <a:pt x="112" y="306"/>
                </a:lnTo>
                <a:lnTo>
                  <a:pt x="116" y="312"/>
                </a:lnTo>
                <a:lnTo>
                  <a:pt x="122" y="316"/>
                </a:lnTo>
                <a:lnTo>
                  <a:pt x="130" y="318"/>
                </a:lnTo>
                <a:lnTo>
                  <a:pt x="146" y="318"/>
                </a:lnTo>
                <a:lnTo>
                  <a:pt x="146" y="318"/>
                </a:lnTo>
                <a:lnTo>
                  <a:pt x="150" y="308"/>
                </a:lnTo>
                <a:lnTo>
                  <a:pt x="154" y="296"/>
                </a:lnTo>
                <a:lnTo>
                  <a:pt x="160" y="286"/>
                </a:lnTo>
                <a:lnTo>
                  <a:pt x="166" y="276"/>
                </a:lnTo>
                <a:lnTo>
                  <a:pt x="130" y="276"/>
                </a:lnTo>
                <a:close/>
                <a:moveTo>
                  <a:pt x="300" y="134"/>
                </a:moveTo>
                <a:lnTo>
                  <a:pt x="292" y="158"/>
                </a:lnTo>
                <a:lnTo>
                  <a:pt x="292" y="158"/>
                </a:lnTo>
                <a:lnTo>
                  <a:pt x="296" y="162"/>
                </a:lnTo>
                <a:lnTo>
                  <a:pt x="300" y="168"/>
                </a:lnTo>
                <a:lnTo>
                  <a:pt x="302" y="174"/>
                </a:lnTo>
                <a:lnTo>
                  <a:pt x="302" y="180"/>
                </a:lnTo>
                <a:lnTo>
                  <a:pt x="302" y="382"/>
                </a:lnTo>
                <a:lnTo>
                  <a:pt x="302" y="402"/>
                </a:lnTo>
                <a:lnTo>
                  <a:pt x="246" y="402"/>
                </a:lnTo>
                <a:lnTo>
                  <a:pt x="232" y="402"/>
                </a:lnTo>
                <a:lnTo>
                  <a:pt x="232" y="402"/>
                </a:lnTo>
                <a:lnTo>
                  <a:pt x="218" y="400"/>
                </a:lnTo>
                <a:lnTo>
                  <a:pt x="206" y="396"/>
                </a:lnTo>
                <a:lnTo>
                  <a:pt x="194" y="390"/>
                </a:lnTo>
                <a:lnTo>
                  <a:pt x="184" y="382"/>
                </a:lnTo>
                <a:lnTo>
                  <a:pt x="174" y="372"/>
                </a:lnTo>
                <a:lnTo>
                  <a:pt x="168" y="360"/>
                </a:lnTo>
                <a:lnTo>
                  <a:pt x="164" y="346"/>
                </a:lnTo>
                <a:lnTo>
                  <a:pt x="164" y="332"/>
                </a:lnTo>
                <a:lnTo>
                  <a:pt x="164" y="332"/>
                </a:lnTo>
                <a:lnTo>
                  <a:pt x="164" y="320"/>
                </a:lnTo>
                <a:lnTo>
                  <a:pt x="166" y="310"/>
                </a:lnTo>
                <a:lnTo>
                  <a:pt x="172" y="300"/>
                </a:lnTo>
                <a:lnTo>
                  <a:pt x="178" y="290"/>
                </a:lnTo>
                <a:lnTo>
                  <a:pt x="176" y="290"/>
                </a:lnTo>
                <a:lnTo>
                  <a:pt x="176" y="216"/>
                </a:lnTo>
                <a:lnTo>
                  <a:pt x="6" y="154"/>
                </a:lnTo>
                <a:lnTo>
                  <a:pt x="6" y="154"/>
                </a:lnTo>
                <a:lnTo>
                  <a:pt x="4" y="152"/>
                </a:lnTo>
                <a:lnTo>
                  <a:pt x="2" y="150"/>
                </a:lnTo>
                <a:lnTo>
                  <a:pt x="2" y="150"/>
                </a:lnTo>
                <a:lnTo>
                  <a:pt x="0" y="146"/>
                </a:lnTo>
                <a:lnTo>
                  <a:pt x="0" y="142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50" y="6"/>
                </a:lnTo>
                <a:lnTo>
                  <a:pt x="50" y="6"/>
                </a:lnTo>
                <a:lnTo>
                  <a:pt x="52" y="2"/>
                </a:lnTo>
                <a:lnTo>
                  <a:pt x="56" y="0"/>
                </a:lnTo>
                <a:lnTo>
                  <a:pt x="58" y="0"/>
                </a:lnTo>
                <a:lnTo>
                  <a:pt x="62" y="0"/>
                </a:lnTo>
                <a:lnTo>
                  <a:pt x="306" y="88"/>
                </a:lnTo>
                <a:lnTo>
                  <a:pt x="306" y="88"/>
                </a:lnTo>
                <a:lnTo>
                  <a:pt x="310" y="90"/>
                </a:lnTo>
                <a:lnTo>
                  <a:pt x="312" y="94"/>
                </a:lnTo>
                <a:lnTo>
                  <a:pt x="312" y="94"/>
                </a:lnTo>
                <a:lnTo>
                  <a:pt x="314" y="98"/>
                </a:lnTo>
                <a:lnTo>
                  <a:pt x="312" y="102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close/>
                <a:moveTo>
                  <a:pt x="60" y="36"/>
                </a:moveTo>
                <a:lnTo>
                  <a:pt x="286" y="118"/>
                </a:lnTo>
                <a:lnTo>
                  <a:pt x="290" y="104"/>
                </a:lnTo>
                <a:lnTo>
                  <a:pt x="66" y="22"/>
                </a:lnTo>
                <a:lnTo>
                  <a:pt x="60" y="36"/>
                </a:lnTo>
                <a:close/>
                <a:moveTo>
                  <a:pt x="232" y="208"/>
                </a:moveTo>
                <a:lnTo>
                  <a:pt x="232" y="216"/>
                </a:lnTo>
                <a:lnTo>
                  <a:pt x="246" y="220"/>
                </a:lnTo>
                <a:lnTo>
                  <a:pt x="246" y="220"/>
                </a:lnTo>
                <a:lnTo>
                  <a:pt x="248" y="220"/>
                </a:lnTo>
                <a:lnTo>
                  <a:pt x="278" y="136"/>
                </a:lnTo>
                <a:lnTo>
                  <a:pt x="54" y="54"/>
                </a:lnTo>
                <a:lnTo>
                  <a:pt x="24" y="138"/>
                </a:lnTo>
                <a:lnTo>
                  <a:pt x="180" y="196"/>
                </a:lnTo>
                <a:lnTo>
                  <a:pt x="180" y="196"/>
                </a:lnTo>
                <a:lnTo>
                  <a:pt x="184" y="190"/>
                </a:lnTo>
                <a:lnTo>
                  <a:pt x="190" y="184"/>
                </a:lnTo>
                <a:lnTo>
                  <a:pt x="196" y="180"/>
                </a:lnTo>
                <a:lnTo>
                  <a:pt x="204" y="180"/>
                </a:lnTo>
                <a:lnTo>
                  <a:pt x="204" y="180"/>
                </a:lnTo>
                <a:lnTo>
                  <a:pt x="216" y="182"/>
                </a:lnTo>
                <a:lnTo>
                  <a:pt x="224" y="188"/>
                </a:lnTo>
                <a:lnTo>
                  <a:pt x="230" y="196"/>
                </a:lnTo>
                <a:lnTo>
                  <a:pt x="232" y="208"/>
                </a:lnTo>
                <a:lnTo>
                  <a:pt x="232" y="208"/>
                </a:lnTo>
                <a:close/>
                <a:moveTo>
                  <a:pt x="246" y="264"/>
                </a:moveTo>
                <a:lnTo>
                  <a:pt x="246" y="242"/>
                </a:lnTo>
                <a:lnTo>
                  <a:pt x="232" y="236"/>
                </a:lnTo>
                <a:lnTo>
                  <a:pt x="232" y="262"/>
                </a:lnTo>
                <a:lnTo>
                  <a:pt x="232" y="262"/>
                </a:lnTo>
                <a:lnTo>
                  <a:pt x="246" y="264"/>
                </a:lnTo>
                <a:lnTo>
                  <a:pt x="246" y="264"/>
                </a:lnTo>
                <a:close/>
                <a:moveTo>
                  <a:pt x="254" y="164"/>
                </a:moveTo>
                <a:lnTo>
                  <a:pt x="254" y="164"/>
                </a:lnTo>
                <a:lnTo>
                  <a:pt x="258" y="158"/>
                </a:lnTo>
                <a:lnTo>
                  <a:pt x="260" y="152"/>
                </a:lnTo>
                <a:lnTo>
                  <a:pt x="260" y="152"/>
                </a:lnTo>
                <a:lnTo>
                  <a:pt x="258" y="146"/>
                </a:lnTo>
                <a:lnTo>
                  <a:pt x="254" y="140"/>
                </a:lnTo>
                <a:lnTo>
                  <a:pt x="254" y="140"/>
                </a:lnTo>
                <a:lnTo>
                  <a:pt x="250" y="138"/>
                </a:lnTo>
                <a:lnTo>
                  <a:pt x="244" y="136"/>
                </a:lnTo>
                <a:lnTo>
                  <a:pt x="238" y="138"/>
                </a:lnTo>
                <a:lnTo>
                  <a:pt x="232" y="140"/>
                </a:lnTo>
                <a:lnTo>
                  <a:pt x="232" y="140"/>
                </a:lnTo>
                <a:lnTo>
                  <a:pt x="228" y="146"/>
                </a:lnTo>
                <a:lnTo>
                  <a:pt x="228" y="152"/>
                </a:lnTo>
                <a:lnTo>
                  <a:pt x="228" y="152"/>
                </a:lnTo>
                <a:lnTo>
                  <a:pt x="228" y="158"/>
                </a:lnTo>
                <a:lnTo>
                  <a:pt x="232" y="164"/>
                </a:lnTo>
                <a:lnTo>
                  <a:pt x="232" y="164"/>
                </a:lnTo>
                <a:lnTo>
                  <a:pt x="238" y="166"/>
                </a:lnTo>
                <a:lnTo>
                  <a:pt x="244" y="168"/>
                </a:lnTo>
                <a:lnTo>
                  <a:pt x="244" y="168"/>
                </a:lnTo>
                <a:lnTo>
                  <a:pt x="250" y="166"/>
                </a:lnTo>
                <a:lnTo>
                  <a:pt x="254" y="164"/>
                </a:lnTo>
                <a:lnTo>
                  <a:pt x="254" y="164"/>
                </a:lnTo>
                <a:close/>
                <a:moveTo>
                  <a:pt x="58" y="84"/>
                </a:moveTo>
                <a:lnTo>
                  <a:pt x="94" y="98"/>
                </a:lnTo>
                <a:lnTo>
                  <a:pt x="98" y="84"/>
                </a:lnTo>
                <a:lnTo>
                  <a:pt x="62" y="72"/>
                </a:lnTo>
                <a:lnTo>
                  <a:pt x="58" y="84"/>
                </a:lnTo>
                <a:close/>
                <a:moveTo>
                  <a:pt x="108" y="102"/>
                </a:moveTo>
                <a:lnTo>
                  <a:pt x="158" y="120"/>
                </a:lnTo>
                <a:lnTo>
                  <a:pt x="162" y="108"/>
                </a:lnTo>
                <a:lnTo>
                  <a:pt x="112" y="90"/>
                </a:lnTo>
                <a:lnTo>
                  <a:pt x="108" y="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0" name="Freeform 4937">
            <a:extLst>
              <a:ext uri="{FF2B5EF4-FFF2-40B4-BE49-F238E27FC236}">
                <a16:creationId xmlns:a16="http://schemas.microsoft.com/office/drawing/2014/main" id="{F0414150-7DD2-4116-9025-A63BC64EE237}"/>
              </a:ext>
            </a:extLst>
          </p:cNvPr>
          <p:cNvSpPr>
            <a:spLocks noEditPoints="1"/>
          </p:cNvSpPr>
          <p:nvPr/>
        </p:nvSpPr>
        <p:spPr bwMode="auto">
          <a:xfrm>
            <a:off x="3812564" y="1990384"/>
            <a:ext cx="181080" cy="221969"/>
          </a:xfrm>
          <a:custGeom>
            <a:avLst/>
            <a:gdLst>
              <a:gd name="T0" fmla="*/ 316 w 328"/>
              <a:gd name="T1" fmla="*/ 104 h 406"/>
              <a:gd name="T2" fmla="*/ 276 w 328"/>
              <a:gd name="T3" fmla="*/ 96 h 406"/>
              <a:gd name="T4" fmla="*/ 178 w 328"/>
              <a:gd name="T5" fmla="*/ 78 h 406"/>
              <a:gd name="T6" fmla="*/ 120 w 328"/>
              <a:gd name="T7" fmla="*/ 84 h 406"/>
              <a:gd name="T8" fmla="*/ 44 w 328"/>
              <a:gd name="T9" fmla="*/ 130 h 406"/>
              <a:gd name="T10" fmla="*/ 2 w 328"/>
              <a:gd name="T11" fmla="*/ 210 h 406"/>
              <a:gd name="T12" fmla="*/ 8 w 328"/>
              <a:gd name="T13" fmla="*/ 290 h 406"/>
              <a:gd name="T14" fmla="*/ 60 w 328"/>
              <a:gd name="T15" fmla="*/ 368 h 406"/>
              <a:gd name="T16" fmla="*/ 148 w 328"/>
              <a:gd name="T17" fmla="*/ 406 h 406"/>
              <a:gd name="T18" fmla="*/ 228 w 328"/>
              <a:gd name="T19" fmla="*/ 394 h 406"/>
              <a:gd name="T20" fmla="*/ 300 w 328"/>
              <a:gd name="T21" fmla="*/ 334 h 406"/>
              <a:gd name="T22" fmla="*/ 328 w 328"/>
              <a:gd name="T23" fmla="*/ 242 h 406"/>
              <a:gd name="T24" fmla="*/ 296 w 328"/>
              <a:gd name="T25" fmla="*/ 144 h 406"/>
              <a:gd name="T26" fmla="*/ 106 w 328"/>
              <a:gd name="T27" fmla="*/ 378 h 406"/>
              <a:gd name="T28" fmla="*/ 42 w 328"/>
              <a:gd name="T29" fmla="*/ 324 h 406"/>
              <a:gd name="T30" fmla="*/ 16 w 328"/>
              <a:gd name="T31" fmla="*/ 242 h 406"/>
              <a:gd name="T32" fmla="*/ 34 w 328"/>
              <a:gd name="T33" fmla="*/ 172 h 406"/>
              <a:gd name="T34" fmla="*/ 94 w 328"/>
              <a:gd name="T35" fmla="*/ 112 h 406"/>
              <a:gd name="T36" fmla="*/ 164 w 328"/>
              <a:gd name="T37" fmla="*/ 94 h 406"/>
              <a:gd name="T38" fmla="*/ 268 w 328"/>
              <a:gd name="T39" fmla="*/ 138 h 406"/>
              <a:gd name="T40" fmla="*/ 310 w 328"/>
              <a:gd name="T41" fmla="*/ 218 h 406"/>
              <a:gd name="T42" fmla="*/ 300 w 328"/>
              <a:gd name="T43" fmla="*/ 300 h 406"/>
              <a:gd name="T44" fmla="*/ 246 w 328"/>
              <a:gd name="T45" fmla="*/ 364 h 406"/>
              <a:gd name="T46" fmla="*/ 164 w 328"/>
              <a:gd name="T47" fmla="*/ 390 h 406"/>
              <a:gd name="T48" fmla="*/ 136 w 328"/>
              <a:gd name="T49" fmla="*/ 4 h 406"/>
              <a:gd name="T50" fmla="*/ 192 w 328"/>
              <a:gd name="T51" fmla="*/ 4 h 406"/>
              <a:gd name="T52" fmla="*/ 192 w 328"/>
              <a:gd name="T53" fmla="*/ 48 h 406"/>
              <a:gd name="T54" fmla="*/ 136 w 328"/>
              <a:gd name="T55" fmla="*/ 48 h 406"/>
              <a:gd name="T56" fmla="*/ 174 w 328"/>
              <a:gd name="T57" fmla="*/ 246 h 406"/>
              <a:gd name="T58" fmla="*/ 156 w 328"/>
              <a:gd name="T59" fmla="*/ 250 h 406"/>
              <a:gd name="T60" fmla="*/ 160 w 328"/>
              <a:gd name="T61" fmla="*/ 232 h 406"/>
              <a:gd name="T62" fmla="*/ 176 w 328"/>
              <a:gd name="T63" fmla="*/ 242 h 406"/>
              <a:gd name="T64" fmla="*/ 264 w 328"/>
              <a:gd name="T65" fmla="*/ 246 h 406"/>
              <a:gd name="T66" fmla="*/ 272 w 328"/>
              <a:gd name="T67" fmla="*/ 234 h 406"/>
              <a:gd name="T68" fmla="*/ 268 w 328"/>
              <a:gd name="T69" fmla="*/ 166 h 406"/>
              <a:gd name="T70" fmla="*/ 164 w 328"/>
              <a:gd name="T71" fmla="*/ 114 h 406"/>
              <a:gd name="T72" fmla="*/ 76 w 328"/>
              <a:gd name="T73" fmla="*/ 148 h 406"/>
              <a:gd name="T74" fmla="*/ 56 w 328"/>
              <a:gd name="T75" fmla="*/ 234 h 406"/>
              <a:gd name="T76" fmla="*/ 64 w 328"/>
              <a:gd name="T77" fmla="*/ 242 h 406"/>
              <a:gd name="T78" fmla="*/ 36 w 328"/>
              <a:gd name="T79" fmla="*/ 250 h 406"/>
              <a:gd name="T80" fmla="*/ 110 w 328"/>
              <a:gd name="T81" fmla="*/ 360 h 406"/>
              <a:gd name="T82" fmla="*/ 158 w 328"/>
              <a:gd name="T83" fmla="*/ 344 h 406"/>
              <a:gd name="T84" fmla="*/ 172 w 328"/>
              <a:gd name="T85" fmla="*/ 346 h 406"/>
              <a:gd name="T86" fmla="*/ 238 w 328"/>
              <a:gd name="T87" fmla="*/ 348 h 406"/>
              <a:gd name="T88" fmla="*/ 272 w 328"/>
              <a:gd name="T89" fmla="*/ 250 h 406"/>
              <a:gd name="T90" fmla="*/ 172 w 328"/>
              <a:gd name="T91" fmla="*/ 182 h 406"/>
              <a:gd name="T92" fmla="*/ 150 w 328"/>
              <a:gd name="T93" fmla="*/ 176 h 406"/>
              <a:gd name="T94" fmla="*/ 158 w 328"/>
              <a:gd name="T95" fmla="*/ 156 h 406"/>
              <a:gd name="T96" fmla="*/ 236 w 328"/>
              <a:gd name="T97" fmla="*/ 324 h 406"/>
              <a:gd name="T98" fmla="*/ 164 w 328"/>
              <a:gd name="T99" fmla="*/ 270 h 406"/>
              <a:gd name="T100" fmla="*/ 136 w 328"/>
              <a:gd name="T101" fmla="*/ 240 h 406"/>
              <a:gd name="T102" fmla="*/ 130 w 328"/>
              <a:gd name="T103" fmla="*/ 212 h 406"/>
              <a:gd name="T104" fmla="*/ 142 w 328"/>
              <a:gd name="T105" fmla="*/ 210 h 406"/>
              <a:gd name="T106" fmla="*/ 172 w 328"/>
              <a:gd name="T107" fmla="*/ 216 h 406"/>
              <a:gd name="T108" fmla="*/ 188 w 328"/>
              <a:gd name="T109" fmla="*/ 256 h 406"/>
              <a:gd name="T110" fmla="*/ 244 w 328"/>
              <a:gd name="T111" fmla="*/ 322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8" h="406">
                <a:moveTo>
                  <a:pt x="296" y="144"/>
                </a:moveTo>
                <a:lnTo>
                  <a:pt x="310" y="130"/>
                </a:lnTo>
                <a:lnTo>
                  <a:pt x="310" y="130"/>
                </a:lnTo>
                <a:lnTo>
                  <a:pt x="316" y="122"/>
                </a:lnTo>
                <a:lnTo>
                  <a:pt x="318" y="112"/>
                </a:lnTo>
                <a:lnTo>
                  <a:pt x="316" y="104"/>
                </a:lnTo>
                <a:lnTo>
                  <a:pt x="310" y="96"/>
                </a:lnTo>
                <a:lnTo>
                  <a:pt x="310" y="96"/>
                </a:lnTo>
                <a:lnTo>
                  <a:pt x="302" y="90"/>
                </a:lnTo>
                <a:lnTo>
                  <a:pt x="294" y="88"/>
                </a:lnTo>
                <a:lnTo>
                  <a:pt x="284" y="90"/>
                </a:lnTo>
                <a:lnTo>
                  <a:pt x="276" y="96"/>
                </a:lnTo>
                <a:lnTo>
                  <a:pt x="262" y="110"/>
                </a:lnTo>
                <a:lnTo>
                  <a:pt x="262" y="110"/>
                </a:lnTo>
                <a:lnTo>
                  <a:pt x="242" y="98"/>
                </a:lnTo>
                <a:lnTo>
                  <a:pt x="222" y="90"/>
                </a:lnTo>
                <a:lnTo>
                  <a:pt x="200" y="82"/>
                </a:lnTo>
                <a:lnTo>
                  <a:pt x="178" y="78"/>
                </a:lnTo>
                <a:lnTo>
                  <a:pt x="178" y="64"/>
                </a:lnTo>
                <a:lnTo>
                  <a:pt x="150" y="64"/>
                </a:lnTo>
                <a:lnTo>
                  <a:pt x="150" y="78"/>
                </a:lnTo>
                <a:lnTo>
                  <a:pt x="150" y="78"/>
                </a:lnTo>
                <a:lnTo>
                  <a:pt x="134" y="80"/>
                </a:lnTo>
                <a:lnTo>
                  <a:pt x="120" y="84"/>
                </a:lnTo>
                <a:lnTo>
                  <a:pt x="104" y="90"/>
                </a:lnTo>
                <a:lnTo>
                  <a:pt x="92" y="96"/>
                </a:lnTo>
                <a:lnTo>
                  <a:pt x="78" y="102"/>
                </a:lnTo>
                <a:lnTo>
                  <a:pt x="66" y="110"/>
                </a:lnTo>
                <a:lnTo>
                  <a:pt x="54" y="120"/>
                </a:lnTo>
                <a:lnTo>
                  <a:pt x="44" y="130"/>
                </a:lnTo>
                <a:lnTo>
                  <a:pt x="34" y="142"/>
                </a:lnTo>
                <a:lnTo>
                  <a:pt x="26" y="154"/>
                </a:lnTo>
                <a:lnTo>
                  <a:pt x="18" y="168"/>
                </a:lnTo>
                <a:lnTo>
                  <a:pt x="12" y="182"/>
                </a:lnTo>
                <a:lnTo>
                  <a:pt x="6" y="196"/>
                </a:lnTo>
                <a:lnTo>
                  <a:pt x="2" y="210"/>
                </a:lnTo>
                <a:lnTo>
                  <a:pt x="0" y="226"/>
                </a:lnTo>
                <a:lnTo>
                  <a:pt x="0" y="242"/>
                </a:lnTo>
                <a:lnTo>
                  <a:pt x="0" y="242"/>
                </a:lnTo>
                <a:lnTo>
                  <a:pt x="0" y="258"/>
                </a:lnTo>
                <a:lnTo>
                  <a:pt x="4" y="276"/>
                </a:lnTo>
                <a:lnTo>
                  <a:pt x="8" y="290"/>
                </a:lnTo>
                <a:lnTo>
                  <a:pt x="12" y="306"/>
                </a:lnTo>
                <a:lnTo>
                  <a:pt x="20" y="320"/>
                </a:lnTo>
                <a:lnTo>
                  <a:pt x="28" y="334"/>
                </a:lnTo>
                <a:lnTo>
                  <a:pt x="38" y="346"/>
                </a:lnTo>
                <a:lnTo>
                  <a:pt x="48" y="358"/>
                </a:lnTo>
                <a:lnTo>
                  <a:pt x="60" y="368"/>
                </a:lnTo>
                <a:lnTo>
                  <a:pt x="72" y="378"/>
                </a:lnTo>
                <a:lnTo>
                  <a:pt x="86" y="386"/>
                </a:lnTo>
                <a:lnTo>
                  <a:pt x="100" y="394"/>
                </a:lnTo>
                <a:lnTo>
                  <a:pt x="116" y="398"/>
                </a:lnTo>
                <a:lnTo>
                  <a:pt x="130" y="402"/>
                </a:lnTo>
                <a:lnTo>
                  <a:pt x="148" y="406"/>
                </a:lnTo>
                <a:lnTo>
                  <a:pt x="164" y="406"/>
                </a:lnTo>
                <a:lnTo>
                  <a:pt x="164" y="406"/>
                </a:lnTo>
                <a:lnTo>
                  <a:pt x="180" y="406"/>
                </a:lnTo>
                <a:lnTo>
                  <a:pt x="198" y="402"/>
                </a:lnTo>
                <a:lnTo>
                  <a:pt x="212" y="398"/>
                </a:lnTo>
                <a:lnTo>
                  <a:pt x="228" y="394"/>
                </a:lnTo>
                <a:lnTo>
                  <a:pt x="242" y="386"/>
                </a:lnTo>
                <a:lnTo>
                  <a:pt x="256" y="378"/>
                </a:lnTo>
                <a:lnTo>
                  <a:pt x="268" y="368"/>
                </a:lnTo>
                <a:lnTo>
                  <a:pt x="280" y="358"/>
                </a:lnTo>
                <a:lnTo>
                  <a:pt x="290" y="346"/>
                </a:lnTo>
                <a:lnTo>
                  <a:pt x="300" y="334"/>
                </a:lnTo>
                <a:lnTo>
                  <a:pt x="308" y="320"/>
                </a:lnTo>
                <a:lnTo>
                  <a:pt x="316" y="306"/>
                </a:lnTo>
                <a:lnTo>
                  <a:pt x="320" y="290"/>
                </a:lnTo>
                <a:lnTo>
                  <a:pt x="324" y="276"/>
                </a:lnTo>
                <a:lnTo>
                  <a:pt x="328" y="258"/>
                </a:lnTo>
                <a:lnTo>
                  <a:pt x="328" y="242"/>
                </a:lnTo>
                <a:lnTo>
                  <a:pt x="328" y="242"/>
                </a:lnTo>
                <a:lnTo>
                  <a:pt x="326" y="216"/>
                </a:lnTo>
                <a:lnTo>
                  <a:pt x="320" y="190"/>
                </a:lnTo>
                <a:lnTo>
                  <a:pt x="310" y="166"/>
                </a:lnTo>
                <a:lnTo>
                  <a:pt x="296" y="144"/>
                </a:lnTo>
                <a:lnTo>
                  <a:pt x="296" y="144"/>
                </a:lnTo>
                <a:close/>
                <a:moveTo>
                  <a:pt x="164" y="390"/>
                </a:moveTo>
                <a:lnTo>
                  <a:pt x="164" y="390"/>
                </a:lnTo>
                <a:lnTo>
                  <a:pt x="148" y="390"/>
                </a:lnTo>
                <a:lnTo>
                  <a:pt x="134" y="388"/>
                </a:lnTo>
                <a:lnTo>
                  <a:pt x="120" y="384"/>
                </a:lnTo>
                <a:lnTo>
                  <a:pt x="106" y="378"/>
                </a:lnTo>
                <a:lnTo>
                  <a:pt x="94" y="372"/>
                </a:lnTo>
                <a:lnTo>
                  <a:pt x="82" y="364"/>
                </a:lnTo>
                <a:lnTo>
                  <a:pt x="70" y="356"/>
                </a:lnTo>
                <a:lnTo>
                  <a:pt x="60" y="346"/>
                </a:lnTo>
                <a:lnTo>
                  <a:pt x="50" y="336"/>
                </a:lnTo>
                <a:lnTo>
                  <a:pt x="42" y="324"/>
                </a:lnTo>
                <a:lnTo>
                  <a:pt x="34" y="312"/>
                </a:lnTo>
                <a:lnTo>
                  <a:pt x="28" y="300"/>
                </a:lnTo>
                <a:lnTo>
                  <a:pt x="22" y="286"/>
                </a:lnTo>
                <a:lnTo>
                  <a:pt x="18" y="272"/>
                </a:lnTo>
                <a:lnTo>
                  <a:pt x="16" y="258"/>
                </a:lnTo>
                <a:lnTo>
                  <a:pt x="16" y="242"/>
                </a:lnTo>
                <a:lnTo>
                  <a:pt x="16" y="242"/>
                </a:lnTo>
                <a:lnTo>
                  <a:pt x="16" y="228"/>
                </a:lnTo>
                <a:lnTo>
                  <a:pt x="18" y="212"/>
                </a:lnTo>
                <a:lnTo>
                  <a:pt x="22" y="198"/>
                </a:lnTo>
                <a:lnTo>
                  <a:pt x="28" y="184"/>
                </a:lnTo>
                <a:lnTo>
                  <a:pt x="34" y="172"/>
                </a:lnTo>
                <a:lnTo>
                  <a:pt x="42" y="160"/>
                </a:lnTo>
                <a:lnTo>
                  <a:pt x="50" y="148"/>
                </a:lnTo>
                <a:lnTo>
                  <a:pt x="60" y="138"/>
                </a:lnTo>
                <a:lnTo>
                  <a:pt x="70" y="128"/>
                </a:lnTo>
                <a:lnTo>
                  <a:pt x="82" y="120"/>
                </a:lnTo>
                <a:lnTo>
                  <a:pt x="94" y="112"/>
                </a:lnTo>
                <a:lnTo>
                  <a:pt x="106" y="106"/>
                </a:lnTo>
                <a:lnTo>
                  <a:pt x="120" y="100"/>
                </a:lnTo>
                <a:lnTo>
                  <a:pt x="134" y="98"/>
                </a:lnTo>
                <a:lnTo>
                  <a:pt x="148" y="94"/>
                </a:lnTo>
                <a:lnTo>
                  <a:pt x="164" y="94"/>
                </a:lnTo>
                <a:lnTo>
                  <a:pt x="164" y="94"/>
                </a:lnTo>
                <a:lnTo>
                  <a:pt x="188" y="96"/>
                </a:lnTo>
                <a:lnTo>
                  <a:pt x="212" y="102"/>
                </a:lnTo>
                <a:lnTo>
                  <a:pt x="232" y="112"/>
                </a:lnTo>
                <a:lnTo>
                  <a:pt x="252" y="124"/>
                </a:lnTo>
                <a:lnTo>
                  <a:pt x="252" y="124"/>
                </a:lnTo>
                <a:lnTo>
                  <a:pt x="268" y="138"/>
                </a:lnTo>
                <a:lnTo>
                  <a:pt x="282" y="154"/>
                </a:lnTo>
                <a:lnTo>
                  <a:pt x="282" y="154"/>
                </a:lnTo>
                <a:lnTo>
                  <a:pt x="282" y="154"/>
                </a:lnTo>
                <a:lnTo>
                  <a:pt x="294" y="174"/>
                </a:lnTo>
                <a:lnTo>
                  <a:pt x="304" y="194"/>
                </a:lnTo>
                <a:lnTo>
                  <a:pt x="310" y="218"/>
                </a:lnTo>
                <a:lnTo>
                  <a:pt x="312" y="242"/>
                </a:lnTo>
                <a:lnTo>
                  <a:pt x="312" y="242"/>
                </a:lnTo>
                <a:lnTo>
                  <a:pt x="312" y="258"/>
                </a:lnTo>
                <a:lnTo>
                  <a:pt x="310" y="272"/>
                </a:lnTo>
                <a:lnTo>
                  <a:pt x="306" y="286"/>
                </a:lnTo>
                <a:lnTo>
                  <a:pt x="300" y="300"/>
                </a:lnTo>
                <a:lnTo>
                  <a:pt x="294" y="312"/>
                </a:lnTo>
                <a:lnTo>
                  <a:pt x="286" y="324"/>
                </a:lnTo>
                <a:lnTo>
                  <a:pt x="278" y="336"/>
                </a:lnTo>
                <a:lnTo>
                  <a:pt x="268" y="346"/>
                </a:lnTo>
                <a:lnTo>
                  <a:pt x="258" y="356"/>
                </a:lnTo>
                <a:lnTo>
                  <a:pt x="246" y="364"/>
                </a:lnTo>
                <a:lnTo>
                  <a:pt x="234" y="372"/>
                </a:lnTo>
                <a:lnTo>
                  <a:pt x="222" y="378"/>
                </a:lnTo>
                <a:lnTo>
                  <a:pt x="208" y="384"/>
                </a:lnTo>
                <a:lnTo>
                  <a:pt x="194" y="388"/>
                </a:lnTo>
                <a:lnTo>
                  <a:pt x="180" y="390"/>
                </a:lnTo>
                <a:lnTo>
                  <a:pt x="164" y="390"/>
                </a:lnTo>
                <a:lnTo>
                  <a:pt x="164" y="390"/>
                </a:lnTo>
                <a:close/>
                <a:moveTo>
                  <a:pt x="134" y="42"/>
                </a:moveTo>
                <a:lnTo>
                  <a:pt x="134" y="10"/>
                </a:lnTo>
                <a:lnTo>
                  <a:pt x="134" y="10"/>
                </a:lnTo>
                <a:lnTo>
                  <a:pt x="134" y="8"/>
                </a:lnTo>
                <a:lnTo>
                  <a:pt x="136" y="4"/>
                </a:lnTo>
                <a:lnTo>
                  <a:pt x="140" y="2"/>
                </a:lnTo>
                <a:lnTo>
                  <a:pt x="144" y="0"/>
                </a:lnTo>
                <a:lnTo>
                  <a:pt x="184" y="0"/>
                </a:lnTo>
                <a:lnTo>
                  <a:pt x="184" y="0"/>
                </a:lnTo>
                <a:lnTo>
                  <a:pt x="188" y="2"/>
                </a:lnTo>
                <a:lnTo>
                  <a:pt x="192" y="4"/>
                </a:lnTo>
                <a:lnTo>
                  <a:pt x="194" y="8"/>
                </a:lnTo>
                <a:lnTo>
                  <a:pt x="194" y="10"/>
                </a:lnTo>
                <a:lnTo>
                  <a:pt x="194" y="42"/>
                </a:lnTo>
                <a:lnTo>
                  <a:pt x="194" y="42"/>
                </a:lnTo>
                <a:lnTo>
                  <a:pt x="194" y="44"/>
                </a:lnTo>
                <a:lnTo>
                  <a:pt x="192" y="48"/>
                </a:lnTo>
                <a:lnTo>
                  <a:pt x="188" y="50"/>
                </a:lnTo>
                <a:lnTo>
                  <a:pt x="184" y="52"/>
                </a:lnTo>
                <a:lnTo>
                  <a:pt x="144" y="52"/>
                </a:lnTo>
                <a:lnTo>
                  <a:pt x="144" y="52"/>
                </a:lnTo>
                <a:lnTo>
                  <a:pt x="140" y="50"/>
                </a:lnTo>
                <a:lnTo>
                  <a:pt x="136" y="48"/>
                </a:lnTo>
                <a:lnTo>
                  <a:pt x="134" y="44"/>
                </a:lnTo>
                <a:lnTo>
                  <a:pt x="134" y="42"/>
                </a:lnTo>
                <a:lnTo>
                  <a:pt x="134" y="42"/>
                </a:lnTo>
                <a:close/>
                <a:moveTo>
                  <a:pt x="176" y="242"/>
                </a:moveTo>
                <a:lnTo>
                  <a:pt x="176" y="242"/>
                </a:lnTo>
                <a:lnTo>
                  <a:pt x="174" y="246"/>
                </a:lnTo>
                <a:lnTo>
                  <a:pt x="172" y="250"/>
                </a:lnTo>
                <a:lnTo>
                  <a:pt x="168" y="254"/>
                </a:lnTo>
                <a:lnTo>
                  <a:pt x="164" y="254"/>
                </a:lnTo>
                <a:lnTo>
                  <a:pt x="164" y="254"/>
                </a:lnTo>
                <a:lnTo>
                  <a:pt x="160" y="254"/>
                </a:lnTo>
                <a:lnTo>
                  <a:pt x="156" y="250"/>
                </a:lnTo>
                <a:lnTo>
                  <a:pt x="154" y="246"/>
                </a:lnTo>
                <a:lnTo>
                  <a:pt x="152" y="242"/>
                </a:lnTo>
                <a:lnTo>
                  <a:pt x="152" y="242"/>
                </a:lnTo>
                <a:lnTo>
                  <a:pt x="154" y="238"/>
                </a:lnTo>
                <a:lnTo>
                  <a:pt x="156" y="234"/>
                </a:lnTo>
                <a:lnTo>
                  <a:pt x="160" y="232"/>
                </a:lnTo>
                <a:lnTo>
                  <a:pt x="164" y="230"/>
                </a:lnTo>
                <a:lnTo>
                  <a:pt x="164" y="230"/>
                </a:lnTo>
                <a:lnTo>
                  <a:pt x="168" y="232"/>
                </a:lnTo>
                <a:lnTo>
                  <a:pt x="172" y="234"/>
                </a:lnTo>
                <a:lnTo>
                  <a:pt x="174" y="238"/>
                </a:lnTo>
                <a:lnTo>
                  <a:pt x="176" y="242"/>
                </a:lnTo>
                <a:lnTo>
                  <a:pt x="176" y="242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68" y="250"/>
                </a:lnTo>
                <a:lnTo>
                  <a:pt x="266" y="248"/>
                </a:lnTo>
                <a:lnTo>
                  <a:pt x="264" y="246"/>
                </a:lnTo>
                <a:lnTo>
                  <a:pt x="264" y="242"/>
                </a:lnTo>
                <a:lnTo>
                  <a:pt x="264" y="242"/>
                </a:lnTo>
                <a:lnTo>
                  <a:pt x="264" y="240"/>
                </a:lnTo>
                <a:lnTo>
                  <a:pt x="266" y="236"/>
                </a:lnTo>
                <a:lnTo>
                  <a:pt x="268" y="234"/>
                </a:lnTo>
                <a:lnTo>
                  <a:pt x="272" y="234"/>
                </a:lnTo>
                <a:lnTo>
                  <a:pt x="292" y="234"/>
                </a:lnTo>
                <a:lnTo>
                  <a:pt x="292" y="234"/>
                </a:lnTo>
                <a:lnTo>
                  <a:pt x="290" y="222"/>
                </a:lnTo>
                <a:lnTo>
                  <a:pt x="288" y="210"/>
                </a:lnTo>
                <a:lnTo>
                  <a:pt x="280" y="186"/>
                </a:lnTo>
                <a:lnTo>
                  <a:pt x="268" y="166"/>
                </a:lnTo>
                <a:lnTo>
                  <a:pt x="252" y="148"/>
                </a:lnTo>
                <a:lnTo>
                  <a:pt x="234" y="134"/>
                </a:lnTo>
                <a:lnTo>
                  <a:pt x="212" y="122"/>
                </a:lnTo>
                <a:lnTo>
                  <a:pt x="188" y="116"/>
                </a:lnTo>
                <a:lnTo>
                  <a:pt x="176" y="114"/>
                </a:lnTo>
                <a:lnTo>
                  <a:pt x="164" y="114"/>
                </a:lnTo>
                <a:lnTo>
                  <a:pt x="164" y="114"/>
                </a:lnTo>
                <a:lnTo>
                  <a:pt x="152" y="114"/>
                </a:lnTo>
                <a:lnTo>
                  <a:pt x="140" y="116"/>
                </a:lnTo>
                <a:lnTo>
                  <a:pt x="116" y="122"/>
                </a:lnTo>
                <a:lnTo>
                  <a:pt x="94" y="134"/>
                </a:lnTo>
                <a:lnTo>
                  <a:pt x="76" y="148"/>
                </a:lnTo>
                <a:lnTo>
                  <a:pt x="60" y="166"/>
                </a:lnTo>
                <a:lnTo>
                  <a:pt x="48" y="186"/>
                </a:lnTo>
                <a:lnTo>
                  <a:pt x="40" y="210"/>
                </a:lnTo>
                <a:lnTo>
                  <a:pt x="38" y="222"/>
                </a:lnTo>
                <a:lnTo>
                  <a:pt x="36" y="234"/>
                </a:lnTo>
                <a:lnTo>
                  <a:pt x="56" y="234"/>
                </a:lnTo>
                <a:lnTo>
                  <a:pt x="56" y="234"/>
                </a:lnTo>
                <a:lnTo>
                  <a:pt x="60" y="234"/>
                </a:lnTo>
                <a:lnTo>
                  <a:pt x="62" y="236"/>
                </a:lnTo>
                <a:lnTo>
                  <a:pt x="64" y="240"/>
                </a:lnTo>
                <a:lnTo>
                  <a:pt x="64" y="242"/>
                </a:lnTo>
                <a:lnTo>
                  <a:pt x="64" y="242"/>
                </a:lnTo>
                <a:lnTo>
                  <a:pt x="64" y="246"/>
                </a:lnTo>
                <a:lnTo>
                  <a:pt x="62" y="248"/>
                </a:lnTo>
                <a:lnTo>
                  <a:pt x="60" y="250"/>
                </a:lnTo>
                <a:lnTo>
                  <a:pt x="56" y="250"/>
                </a:lnTo>
                <a:lnTo>
                  <a:pt x="36" y="250"/>
                </a:lnTo>
                <a:lnTo>
                  <a:pt x="36" y="250"/>
                </a:lnTo>
                <a:lnTo>
                  <a:pt x="40" y="274"/>
                </a:lnTo>
                <a:lnTo>
                  <a:pt x="48" y="296"/>
                </a:lnTo>
                <a:lnTo>
                  <a:pt x="58" y="316"/>
                </a:lnTo>
                <a:lnTo>
                  <a:pt x="74" y="334"/>
                </a:lnTo>
                <a:lnTo>
                  <a:pt x="90" y="348"/>
                </a:lnTo>
                <a:lnTo>
                  <a:pt x="110" y="360"/>
                </a:lnTo>
                <a:lnTo>
                  <a:pt x="132" y="366"/>
                </a:lnTo>
                <a:lnTo>
                  <a:pt x="156" y="370"/>
                </a:lnTo>
                <a:lnTo>
                  <a:pt x="156" y="350"/>
                </a:lnTo>
                <a:lnTo>
                  <a:pt x="156" y="350"/>
                </a:lnTo>
                <a:lnTo>
                  <a:pt x="156" y="346"/>
                </a:lnTo>
                <a:lnTo>
                  <a:pt x="158" y="344"/>
                </a:lnTo>
                <a:lnTo>
                  <a:pt x="160" y="342"/>
                </a:lnTo>
                <a:lnTo>
                  <a:pt x="164" y="342"/>
                </a:lnTo>
                <a:lnTo>
                  <a:pt x="164" y="342"/>
                </a:lnTo>
                <a:lnTo>
                  <a:pt x="168" y="342"/>
                </a:lnTo>
                <a:lnTo>
                  <a:pt x="170" y="344"/>
                </a:lnTo>
                <a:lnTo>
                  <a:pt x="172" y="346"/>
                </a:lnTo>
                <a:lnTo>
                  <a:pt x="172" y="350"/>
                </a:lnTo>
                <a:lnTo>
                  <a:pt x="172" y="370"/>
                </a:lnTo>
                <a:lnTo>
                  <a:pt x="172" y="370"/>
                </a:lnTo>
                <a:lnTo>
                  <a:pt x="196" y="366"/>
                </a:lnTo>
                <a:lnTo>
                  <a:pt x="218" y="360"/>
                </a:lnTo>
                <a:lnTo>
                  <a:pt x="238" y="348"/>
                </a:lnTo>
                <a:lnTo>
                  <a:pt x="254" y="334"/>
                </a:lnTo>
                <a:lnTo>
                  <a:pt x="270" y="316"/>
                </a:lnTo>
                <a:lnTo>
                  <a:pt x="280" y="296"/>
                </a:lnTo>
                <a:lnTo>
                  <a:pt x="288" y="274"/>
                </a:lnTo>
                <a:lnTo>
                  <a:pt x="292" y="250"/>
                </a:lnTo>
                <a:lnTo>
                  <a:pt x="272" y="250"/>
                </a:lnTo>
                <a:close/>
                <a:moveTo>
                  <a:pt x="158" y="156"/>
                </a:moveTo>
                <a:lnTo>
                  <a:pt x="200" y="134"/>
                </a:lnTo>
                <a:lnTo>
                  <a:pt x="178" y="176"/>
                </a:lnTo>
                <a:lnTo>
                  <a:pt x="178" y="176"/>
                </a:lnTo>
                <a:lnTo>
                  <a:pt x="176" y="178"/>
                </a:lnTo>
                <a:lnTo>
                  <a:pt x="172" y="182"/>
                </a:lnTo>
                <a:lnTo>
                  <a:pt x="168" y="184"/>
                </a:lnTo>
                <a:lnTo>
                  <a:pt x="164" y="184"/>
                </a:lnTo>
                <a:lnTo>
                  <a:pt x="164" y="184"/>
                </a:lnTo>
                <a:lnTo>
                  <a:pt x="158" y="184"/>
                </a:lnTo>
                <a:lnTo>
                  <a:pt x="154" y="180"/>
                </a:lnTo>
                <a:lnTo>
                  <a:pt x="150" y="176"/>
                </a:lnTo>
                <a:lnTo>
                  <a:pt x="150" y="170"/>
                </a:lnTo>
                <a:lnTo>
                  <a:pt x="150" y="170"/>
                </a:lnTo>
                <a:lnTo>
                  <a:pt x="150" y="166"/>
                </a:lnTo>
                <a:lnTo>
                  <a:pt x="152" y="162"/>
                </a:lnTo>
                <a:lnTo>
                  <a:pt x="158" y="156"/>
                </a:lnTo>
                <a:lnTo>
                  <a:pt x="158" y="156"/>
                </a:lnTo>
                <a:close/>
                <a:moveTo>
                  <a:pt x="244" y="322"/>
                </a:moveTo>
                <a:lnTo>
                  <a:pt x="244" y="322"/>
                </a:lnTo>
                <a:lnTo>
                  <a:pt x="242" y="324"/>
                </a:lnTo>
                <a:lnTo>
                  <a:pt x="240" y="326"/>
                </a:lnTo>
                <a:lnTo>
                  <a:pt x="240" y="326"/>
                </a:lnTo>
                <a:lnTo>
                  <a:pt x="236" y="324"/>
                </a:lnTo>
                <a:lnTo>
                  <a:pt x="234" y="322"/>
                </a:lnTo>
                <a:lnTo>
                  <a:pt x="178" y="266"/>
                </a:lnTo>
                <a:lnTo>
                  <a:pt x="178" y="266"/>
                </a:lnTo>
                <a:lnTo>
                  <a:pt x="170" y="270"/>
                </a:lnTo>
                <a:lnTo>
                  <a:pt x="164" y="270"/>
                </a:lnTo>
                <a:lnTo>
                  <a:pt x="164" y="270"/>
                </a:lnTo>
                <a:lnTo>
                  <a:pt x="156" y="270"/>
                </a:lnTo>
                <a:lnTo>
                  <a:pt x="150" y="266"/>
                </a:lnTo>
                <a:lnTo>
                  <a:pt x="150" y="266"/>
                </a:lnTo>
                <a:lnTo>
                  <a:pt x="142" y="260"/>
                </a:lnTo>
                <a:lnTo>
                  <a:pt x="138" y="250"/>
                </a:lnTo>
                <a:lnTo>
                  <a:pt x="136" y="240"/>
                </a:lnTo>
                <a:lnTo>
                  <a:pt x="140" y="230"/>
                </a:lnTo>
                <a:lnTo>
                  <a:pt x="132" y="220"/>
                </a:lnTo>
                <a:lnTo>
                  <a:pt x="132" y="220"/>
                </a:lnTo>
                <a:lnTo>
                  <a:pt x="130" y="218"/>
                </a:lnTo>
                <a:lnTo>
                  <a:pt x="128" y="214"/>
                </a:lnTo>
                <a:lnTo>
                  <a:pt x="130" y="212"/>
                </a:lnTo>
                <a:lnTo>
                  <a:pt x="132" y="210"/>
                </a:lnTo>
                <a:lnTo>
                  <a:pt x="132" y="210"/>
                </a:lnTo>
                <a:lnTo>
                  <a:pt x="134" y="208"/>
                </a:lnTo>
                <a:lnTo>
                  <a:pt x="136" y="206"/>
                </a:lnTo>
                <a:lnTo>
                  <a:pt x="140" y="208"/>
                </a:lnTo>
                <a:lnTo>
                  <a:pt x="142" y="210"/>
                </a:lnTo>
                <a:lnTo>
                  <a:pt x="150" y="218"/>
                </a:lnTo>
                <a:lnTo>
                  <a:pt x="150" y="218"/>
                </a:lnTo>
                <a:lnTo>
                  <a:pt x="158" y="216"/>
                </a:lnTo>
                <a:lnTo>
                  <a:pt x="164" y="214"/>
                </a:lnTo>
                <a:lnTo>
                  <a:pt x="164" y="214"/>
                </a:lnTo>
                <a:lnTo>
                  <a:pt x="172" y="216"/>
                </a:lnTo>
                <a:lnTo>
                  <a:pt x="178" y="218"/>
                </a:lnTo>
                <a:lnTo>
                  <a:pt x="178" y="218"/>
                </a:lnTo>
                <a:lnTo>
                  <a:pt x="186" y="226"/>
                </a:lnTo>
                <a:lnTo>
                  <a:pt x="190" y="234"/>
                </a:lnTo>
                <a:lnTo>
                  <a:pt x="192" y="244"/>
                </a:lnTo>
                <a:lnTo>
                  <a:pt x="188" y="256"/>
                </a:lnTo>
                <a:lnTo>
                  <a:pt x="244" y="312"/>
                </a:lnTo>
                <a:lnTo>
                  <a:pt x="244" y="312"/>
                </a:lnTo>
                <a:lnTo>
                  <a:pt x="246" y="314"/>
                </a:lnTo>
                <a:lnTo>
                  <a:pt x="248" y="318"/>
                </a:lnTo>
                <a:lnTo>
                  <a:pt x="246" y="320"/>
                </a:lnTo>
                <a:lnTo>
                  <a:pt x="244" y="322"/>
                </a:lnTo>
                <a:lnTo>
                  <a:pt x="244" y="32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2" name="Freeform 195">
            <a:extLst>
              <a:ext uri="{FF2B5EF4-FFF2-40B4-BE49-F238E27FC236}">
                <a16:creationId xmlns:a16="http://schemas.microsoft.com/office/drawing/2014/main" id="{C4A2B121-AB2D-48A3-823A-74FC575A494C}"/>
              </a:ext>
            </a:extLst>
          </p:cNvPr>
          <p:cNvSpPr>
            <a:spLocks noEditPoints="1"/>
          </p:cNvSpPr>
          <p:nvPr/>
        </p:nvSpPr>
        <p:spPr bwMode="auto">
          <a:xfrm>
            <a:off x="3888153" y="3327108"/>
            <a:ext cx="115545" cy="151113"/>
          </a:xfrm>
          <a:custGeom>
            <a:avLst/>
            <a:gdLst>
              <a:gd name="T0" fmla="*/ 350010811 w 636"/>
              <a:gd name="T1" fmla="*/ 216073037 h 916"/>
              <a:gd name="T2" fmla="*/ 328548598 w 636"/>
              <a:gd name="T3" fmla="*/ 174837444 h 916"/>
              <a:gd name="T4" fmla="*/ 295528481 w 636"/>
              <a:gd name="T5" fmla="*/ 151746348 h 916"/>
              <a:gd name="T6" fmla="*/ 354964328 w 636"/>
              <a:gd name="T7" fmla="*/ 291945785 h 916"/>
              <a:gd name="T8" fmla="*/ 424306302 w 636"/>
              <a:gd name="T9" fmla="*/ 318336128 h 916"/>
              <a:gd name="T10" fmla="*/ 468882506 w 636"/>
              <a:gd name="T11" fmla="*/ 346376549 h 916"/>
              <a:gd name="T12" fmla="*/ 493647480 w 636"/>
              <a:gd name="T13" fmla="*/ 374416062 h 916"/>
              <a:gd name="T14" fmla="*/ 516761471 w 636"/>
              <a:gd name="T15" fmla="*/ 420600071 h 916"/>
              <a:gd name="T16" fmla="*/ 525016728 w 636"/>
              <a:gd name="T17" fmla="*/ 476680118 h 916"/>
              <a:gd name="T18" fmla="*/ 520064119 w 636"/>
              <a:gd name="T19" fmla="*/ 519564880 h 916"/>
              <a:gd name="T20" fmla="*/ 505204476 w 636"/>
              <a:gd name="T21" fmla="*/ 560800473 h 916"/>
              <a:gd name="T22" fmla="*/ 467231636 w 636"/>
              <a:gd name="T23" fmla="*/ 611931991 h 916"/>
              <a:gd name="T24" fmla="*/ 435863297 w 636"/>
              <a:gd name="T25" fmla="*/ 636673164 h 916"/>
              <a:gd name="T26" fmla="*/ 384681798 w 636"/>
              <a:gd name="T27" fmla="*/ 663063508 h 916"/>
              <a:gd name="T28" fmla="*/ 343407333 w 636"/>
              <a:gd name="T29" fmla="*/ 671310263 h 916"/>
              <a:gd name="T30" fmla="*/ 295528481 w 636"/>
              <a:gd name="T31" fmla="*/ 755430618 h 916"/>
              <a:gd name="T32" fmla="*/ 234441707 w 636"/>
              <a:gd name="T33" fmla="*/ 676258680 h 916"/>
              <a:gd name="T34" fmla="*/ 155193608 w 636"/>
              <a:gd name="T35" fmla="*/ 663063508 h 916"/>
              <a:gd name="T36" fmla="*/ 115569984 w 636"/>
              <a:gd name="T37" fmla="*/ 648219167 h 916"/>
              <a:gd name="T38" fmla="*/ 67691132 w 636"/>
              <a:gd name="T39" fmla="*/ 615230329 h 916"/>
              <a:gd name="T40" fmla="*/ 41274479 w 636"/>
              <a:gd name="T41" fmla="*/ 588839986 h 916"/>
              <a:gd name="T42" fmla="*/ 23113998 w 636"/>
              <a:gd name="T43" fmla="*/ 560800473 h 916"/>
              <a:gd name="T44" fmla="*/ 4952610 w 636"/>
              <a:gd name="T45" fmla="*/ 508018878 h 916"/>
              <a:gd name="T46" fmla="*/ 171703212 w 636"/>
              <a:gd name="T47" fmla="*/ 468433250 h 916"/>
              <a:gd name="T48" fmla="*/ 186562855 w 636"/>
              <a:gd name="T49" fmla="*/ 517915711 h 916"/>
              <a:gd name="T50" fmla="*/ 199770721 w 636"/>
              <a:gd name="T51" fmla="*/ 537708469 h 916"/>
              <a:gd name="T52" fmla="*/ 234441707 w 636"/>
              <a:gd name="T53" fmla="*/ 560800473 h 916"/>
              <a:gd name="T54" fmla="*/ 194817203 w 636"/>
              <a:gd name="T55" fmla="*/ 400807314 h 916"/>
              <a:gd name="T56" fmla="*/ 113919114 w 636"/>
              <a:gd name="T57" fmla="*/ 371117723 h 916"/>
              <a:gd name="T58" fmla="*/ 80898997 w 636"/>
              <a:gd name="T59" fmla="*/ 348025719 h 916"/>
              <a:gd name="T60" fmla="*/ 51180605 w 636"/>
              <a:gd name="T61" fmla="*/ 315037789 h 916"/>
              <a:gd name="T62" fmla="*/ 26415737 w 636"/>
              <a:gd name="T63" fmla="*/ 249061023 h 916"/>
              <a:gd name="T64" fmla="*/ 26415737 w 636"/>
              <a:gd name="T65" fmla="*/ 204527034 h 916"/>
              <a:gd name="T66" fmla="*/ 37972740 w 636"/>
              <a:gd name="T67" fmla="*/ 153395517 h 916"/>
              <a:gd name="T68" fmla="*/ 66040263 w 636"/>
              <a:gd name="T69" fmla="*/ 110510727 h 916"/>
              <a:gd name="T70" fmla="*/ 92455993 w 636"/>
              <a:gd name="T71" fmla="*/ 85769553 h 916"/>
              <a:gd name="T72" fmla="*/ 143636612 w 636"/>
              <a:gd name="T73" fmla="*/ 57729117 h 916"/>
              <a:gd name="T74" fmla="*/ 209676847 w 636"/>
              <a:gd name="T75" fmla="*/ 42884776 h 916"/>
              <a:gd name="T76" fmla="*/ 295528481 w 636"/>
              <a:gd name="T77" fmla="*/ 0 h 916"/>
              <a:gd name="T78" fmla="*/ 318642472 w 636"/>
              <a:gd name="T79" fmla="*/ 42884776 h 916"/>
              <a:gd name="T80" fmla="*/ 379729189 w 636"/>
              <a:gd name="T81" fmla="*/ 54430779 h 916"/>
              <a:gd name="T82" fmla="*/ 427608041 w 636"/>
              <a:gd name="T83" fmla="*/ 75872720 h 916"/>
              <a:gd name="T84" fmla="*/ 454023771 w 636"/>
              <a:gd name="T85" fmla="*/ 95665477 h 916"/>
              <a:gd name="T86" fmla="*/ 483742263 w 636"/>
              <a:gd name="T87" fmla="*/ 131952682 h 916"/>
              <a:gd name="T88" fmla="*/ 503553606 w 636"/>
              <a:gd name="T89" fmla="*/ 174837444 h 916"/>
              <a:gd name="T90" fmla="*/ 234441707 w 636"/>
              <a:gd name="T91" fmla="*/ 150096270 h 916"/>
              <a:gd name="T92" fmla="*/ 212978586 w 636"/>
              <a:gd name="T93" fmla="*/ 159993103 h 916"/>
              <a:gd name="T94" fmla="*/ 198119851 w 636"/>
              <a:gd name="T95" fmla="*/ 171539105 h 916"/>
              <a:gd name="T96" fmla="*/ 188213725 w 636"/>
              <a:gd name="T97" fmla="*/ 194630202 h 916"/>
              <a:gd name="T98" fmla="*/ 188213725 w 636"/>
              <a:gd name="T99" fmla="*/ 211124620 h 916"/>
              <a:gd name="T100" fmla="*/ 198119851 w 636"/>
              <a:gd name="T101" fmla="*/ 234216625 h 916"/>
              <a:gd name="T102" fmla="*/ 212978586 w 636"/>
              <a:gd name="T103" fmla="*/ 247411853 h 916"/>
              <a:gd name="T104" fmla="*/ 234441707 w 636"/>
              <a:gd name="T105" fmla="*/ 150096270 h 916"/>
              <a:gd name="T106" fmla="*/ 312038085 w 636"/>
              <a:gd name="T107" fmla="*/ 560800473 h 916"/>
              <a:gd name="T108" fmla="*/ 348359941 w 636"/>
              <a:gd name="T109" fmla="*/ 539357638 h 916"/>
              <a:gd name="T110" fmla="*/ 361567807 w 636"/>
              <a:gd name="T111" fmla="*/ 519564880 h 916"/>
              <a:gd name="T112" fmla="*/ 364870454 w 636"/>
              <a:gd name="T113" fmla="*/ 498122953 h 916"/>
              <a:gd name="T114" fmla="*/ 358266067 w 636"/>
              <a:gd name="T115" fmla="*/ 470082419 h 916"/>
              <a:gd name="T116" fmla="*/ 343407333 w 636"/>
              <a:gd name="T117" fmla="*/ 453588000 h 916"/>
              <a:gd name="T118" fmla="*/ 295528481 w 636"/>
              <a:gd name="T119" fmla="*/ 430496904 h 91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6"/>
              <a:gd name="T181" fmla="*/ 0 h 916"/>
              <a:gd name="T182" fmla="*/ 636 w 636"/>
              <a:gd name="T183" fmla="*/ 916 h 91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6" h="916">
                <a:moveTo>
                  <a:pt x="614" y="232"/>
                </a:moveTo>
                <a:lnTo>
                  <a:pt x="424" y="262"/>
                </a:lnTo>
                <a:lnTo>
                  <a:pt x="410" y="232"/>
                </a:lnTo>
                <a:lnTo>
                  <a:pt x="398" y="212"/>
                </a:lnTo>
                <a:lnTo>
                  <a:pt x="392" y="206"/>
                </a:lnTo>
                <a:lnTo>
                  <a:pt x="382" y="198"/>
                </a:lnTo>
                <a:lnTo>
                  <a:pt x="358" y="184"/>
                </a:lnTo>
                <a:lnTo>
                  <a:pt x="358" y="332"/>
                </a:lnTo>
                <a:lnTo>
                  <a:pt x="430" y="354"/>
                </a:lnTo>
                <a:lnTo>
                  <a:pt x="462" y="364"/>
                </a:lnTo>
                <a:lnTo>
                  <a:pt x="490" y="376"/>
                </a:lnTo>
                <a:lnTo>
                  <a:pt x="514" y="386"/>
                </a:lnTo>
                <a:lnTo>
                  <a:pt x="534" y="398"/>
                </a:lnTo>
                <a:lnTo>
                  <a:pt x="552" y="408"/>
                </a:lnTo>
                <a:lnTo>
                  <a:pt x="568" y="420"/>
                </a:lnTo>
                <a:lnTo>
                  <a:pt x="584" y="436"/>
                </a:lnTo>
                <a:lnTo>
                  <a:pt x="598" y="454"/>
                </a:lnTo>
                <a:lnTo>
                  <a:pt x="610" y="472"/>
                </a:lnTo>
                <a:lnTo>
                  <a:pt x="620" y="490"/>
                </a:lnTo>
                <a:lnTo>
                  <a:pt x="626" y="510"/>
                </a:lnTo>
                <a:lnTo>
                  <a:pt x="632" y="532"/>
                </a:lnTo>
                <a:lnTo>
                  <a:pt x="636" y="554"/>
                </a:lnTo>
                <a:lnTo>
                  <a:pt x="636" y="578"/>
                </a:lnTo>
                <a:lnTo>
                  <a:pt x="636" y="604"/>
                </a:lnTo>
                <a:lnTo>
                  <a:pt x="630" y="630"/>
                </a:lnTo>
                <a:lnTo>
                  <a:pt x="622" y="656"/>
                </a:lnTo>
                <a:lnTo>
                  <a:pt x="612" y="680"/>
                </a:lnTo>
                <a:lnTo>
                  <a:pt x="598" y="702"/>
                </a:lnTo>
                <a:lnTo>
                  <a:pt x="584" y="722"/>
                </a:lnTo>
                <a:lnTo>
                  <a:pt x="566" y="742"/>
                </a:lnTo>
                <a:lnTo>
                  <a:pt x="548" y="758"/>
                </a:lnTo>
                <a:lnTo>
                  <a:pt x="528" y="772"/>
                </a:lnTo>
                <a:lnTo>
                  <a:pt x="508" y="784"/>
                </a:lnTo>
                <a:lnTo>
                  <a:pt x="488" y="796"/>
                </a:lnTo>
                <a:lnTo>
                  <a:pt x="466" y="804"/>
                </a:lnTo>
                <a:lnTo>
                  <a:pt x="442" y="810"/>
                </a:lnTo>
                <a:lnTo>
                  <a:pt x="416" y="814"/>
                </a:lnTo>
                <a:lnTo>
                  <a:pt x="390" y="818"/>
                </a:lnTo>
                <a:lnTo>
                  <a:pt x="358" y="820"/>
                </a:lnTo>
                <a:lnTo>
                  <a:pt x="358" y="916"/>
                </a:lnTo>
                <a:lnTo>
                  <a:pt x="284" y="916"/>
                </a:lnTo>
                <a:lnTo>
                  <a:pt x="284" y="820"/>
                </a:lnTo>
                <a:lnTo>
                  <a:pt x="248" y="816"/>
                </a:lnTo>
                <a:lnTo>
                  <a:pt x="216" y="810"/>
                </a:lnTo>
                <a:lnTo>
                  <a:pt x="188" y="804"/>
                </a:lnTo>
                <a:lnTo>
                  <a:pt x="162" y="796"/>
                </a:lnTo>
                <a:lnTo>
                  <a:pt x="140" y="786"/>
                </a:lnTo>
                <a:lnTo>
                  <a:pt x="118" y="774"/>
                </a:lnTo>
                <a:lnTo>
                  <a:pt x="98" y="762"/>
                </a:lnTo>
                <a:lnTo>
                  <a:pt x="82" y="746"/>
                </a:lnTo>
                <a:lnTo>
                  <a:pt x="64" y="730"/>
                </a:lnTo>
                <a:lnTo>
                  <a:pt x="50" y="714"/>
                </a:lnTo>
                <a:lnTo>
                  <a:pt x="38" y="696"/>
                </a:lnTo>
                <a:lnTo>
                  <a:pt x="28" y="680"/>
                </a:lnTo>
                <a:lnTo>
                  <a:pt x="20" y="660"/>
                </a:lnTo>
                <a:lnTo>
                  <a:pt x="12" y="640"/>
                </a:lnTo>
                <a:lnTo>
                  <a:pt x="6" y="616"/>
                </a:lnTo>
                <a:lnTo>
                  <a:pt x="0" y="592"/>
                </a:lnTo>
                <a:lnTo>
                  <a:pt x="208" y="568"/>
                </a:lnTo>
                <a:lnTo>
                  <a:pt x="214" y="592"/>
                </a:lnTo>
                <a:lnTo>
                  <a:pt x="220" y="612"/>
                </a:lnTo>
                <a:lnTo>
                  <a:pt x="226" y="628"/>
                </a:lnTo>
                <a:lnTo>
                  <a:pt x="234" y="640"/>
                </a:lnTo>
                <a:lnTo>
                  <a:pt x="242" y="652"/>
                </a:lnTo>
                <a:lnTo>
                  <a:pt x="254" y="662"/>
                </a:lnTo>
                <a:lnTo>
                  <a:pt x="268" y="672"/>
                </a:lnTo>
                <a:lnTo>
                  <a:pt x="284" y="680"/>
                </a:lnTo>
                <a:lnTo>
                  <a:pt x="284" y="500"/>
                </a:lnTo>
                <a:lnTo>
                  <a:pt x="236" y="486"/>
                </a:lnTo>
                <a:lnTo>
                  <a:pt x="196" y="474"/>
                </a:lnTo>
                <a:lnTo>
                  <a:pt x="162" y="462"/>
                </a:lnTo>
                <a:lnTo>
                  <a:pt x="138" y="450"/>
                </a:lnTo>
                <a:lnTo>
                  <a:pt x="116" y="438"/>
                </a:lnTo>
                <a:lnTo>
                  <a:pt x="98" y="422"/>
                </a:lnTo>
                <a:lnTo>
                  <a:pt x="80" y="404"/>
                </a:lnTo>
                <a:lnTo>
                  <a:pt x="62" y="382"/>
                </a:lnTo>
                <a:lnTo>
                  <a:pt x="48" y="358"/>
                </a:lnTo>
                <a:lnTo>
                  <a:pt x="38" y="332"/>
                </a:lnTo>
                <a:lnTo>
                  <a:pt x="32" y="302"/>
                </a:lnTo>
                <a:lnTo>
                  <a:pt x="30" y="270"/>
                </a:lnTo>
                <a:lnTo>
                  <a:pt x="32" y="248"/>
                </a:lnTo>
                <a:lnTo>
                  <a:pt x="34" y="226"/>
                </a:lnTo>
                <a:lnTo>
                  <a:pt x="40" y="206"/>
                </a:lnTo>
                <a:lnTo>
                  <a:pt x="46" y="186"/>
                </a:lnTo>
                <a:lnTo>
                  <a:pt x="56" y="168"/>
                </a:lnTo>
                <a:lnTo>
                  <a:pt x="66" y="150"/>
                </a:lnTo>
                <a:lnTo>
                  <a:pt x="80" y="134"/>
                </a:lnTo>
                <a:lnTo>
                  <a:pt x="94" y="118"/>
                </a:lnTo>
                <a:lnTo>
                  <a:pt x="112" y="104"/>
                </a:lnTo>
                <a:lnTo>
                  <a:pt x="130" y="90"/>
                </a:lnTo>
                <a:lnTo>
                  <a:pt x="152" y="80"/>
                </a:lnTo>
                <a:lnTo>
                  <a:pt x="174" y="70"/>
                </a:lnTo>
                <a:lnTo>
                  <a:pt x="198" y="62"/>
                </a:lnTo>
                <a:lnTo>
                  <a:pt x="226" y="56"/>
                </a:lnTo>
                <a:lnTo>
                  <a:pt x="254" y="52"/>
                </a:lnTo>
                <a:lnTo>
                  <a:pt x="284" y="50"/>
                </a:lnTo>
                <a:lnTo>
                  <a:pt x="284" y="0"/>
                </a:lnTo>
                <a:lnTo>
                  <a:pt x="358" y="0"/>
                </a:lnTo>
                <a:lnTo>
                  <a:pt x="358" y="50"/>
                </a:lnTo>
                <a:lnTo>
                  <a:pt x="386" y="52"/>
                </a:lnTo>
                <a:lnTo>
                  <a:pt x="412" y="56"/>
                </a:lnTo>
                <a:lnTo>
                  <a:pt x="438" y="60"/>
                </a:lnTo>
                <a:lnTo>
                  <a:pt x="460" y="66"/>
                </a:lnTo>
                <a:lnTo>
                  <a:pt x="482" y="74"/>
                </a:lnTo>
                <a:lnTo>
                  <a:pt x="502" y="82"/>
                </a:lnTo>
                <a:lnTo>
                  <a:pt x="518" y="92"/>
                </a:lnTo>
                <a:lnTo>
                  <a:pt x="536" y="104"/>
                </a:lnTo>
                <a:lnTo>
                  <a:pt x="550" y="116"/>
                </a:lnTo>
                <a:lnTo>
                  <a:pt x="562" y="130"/>
                </a:lnTo>
                <a:lnTo>
                  <a:pt x="574" y="144"/>
                </a:lnTo>
                <a:lnTo>
                  <a:pt x="586" y="160"/>
                </a:lnTo>
                <a:lnTo>
                  <a:pt x="594" y="176"/>
                </a:lnTo>
                <a:lnTo>
                  <a:pt x="602" y="194"/>
                </a:lnTo>
                <a:lnTo>
                  <a:pt x="610" y="212"/>
                </a:lnTo>
                <a:lnTo>
                  <a:pt x="614" y="232"/>
                </a:lnTo>
                <a:close/>
                <a:moveTo>
                  <a:pt x="284" y="182"/>
                </a:moveTo>
                <a:lnTo>
                  <a:pt x="284" y="182"/>
                </a:lnTo>
                <a:lnTo>
                  <a:pt x="270" y="188"/>
                </a:lnTo>
                <a:lnTo>
                  <a:pt x="258" y="194"/>
                </a:lnTo>
                <a:lnTo>
                  <a:pt x="246" y="200"/>
                </a:lnTo>
                <a:lnTo>
                  <a:pt x="240" y="208"/>
                </a:lnTo>
                <a:lnTo>
                  <a:pt x="234" y="216"/>
                </a:lnTo>
                <a:lnTo>
                  <a:pt x="230" y="226"/>
                </a:lnTo>
                <a:lnTo>
                  <a:pt x="228" y="236"/>
                </a:lnTo>
                <a:lnTo>
                  <a:pt x="226" y="246"/>
                </a:lnTo>
                <a:lnTo>
                  <a:pt x="228" y="256"/>
                </a:lnTo>
                <a:lnTo>
                  <a:pt x="230" y="266"/>
                </a:lnTo>
                <a:lnTo>
                  <a:pt x="234" y="276"/>
                </a:lnTo>
                <a:lnTo>
                  <a:pt x="240" y="284"/>
                </a:lnTo>
                <a:lnTo>
                  <a:pt x="248" y="292"/>
                </a:lnTo>
                <a:lnTo>
                  <a:pt x="258" y="300"/>
                </a:lnTo>
                <a:lnTo>
                  <a:pt x="270" y="306"/>
                </a:lnTo>
                <a:lnTo>
                  <a:pt x="284" y="312"/>
                </a:lnTo>
                <a:lnTo>
                  <a:pt x="284" y="182"/>
                </a:lnTo>
                <a:close/>
                <a:moveTo>
                  <a:pt x="358" y="686"/>
                </a:moveTo>
                <a:lnTo>
                  <a:pt x="358" y="686"/>
                </a:lnTo>
                <a:lnTo>
                  <a:pt x="378" y="680"/>
                </a:lnTo>
                <a:lnTo>
                  <a:pt x="396" y="672"/>
                </a:lnTo>
                <a:lnTo>
                  <a:pt x="410" y="664"/>
                </a:lnTo>
                <a:lnTo>
                  <a:pt x="422" y="654"/>
                </a:lnTo>
                <a:lnTo>
                  <a:pt x="432" y="642"/>
                </a:lnTo>
                <a:lnTo>
                  <a:pt x="438" y="630"/>
                </a:lnTo>
                <a:lnTo>
                  <a:pt x="442" y="618"/>
                </a:lnTo>
                <a:lnTo>
                  <a:pt x="442" y="604"/>
                </a:lnTo>
                <a:lnTo>
                  <a:pt x="442" y="592"/>
                </a:lnTo>
                <a:lnTo>
                  <a:pt x="438" y="580"/>
                </a:lnTo>
                <a:lnTo>
                  <a:pt x="434" y="570"/>
                </a:lnTo>
                <a:lnTo>
                  <a:pt x="426" y="560"/>
                </a:lnTo>
                <a:lnTo>
                  <a:pt x="416" y="550"/>
                </a:lnTo>
                <a:lnTo>
                  <a:pt x="400" y="540"/>
                </a:lnTo>
                <a:lnTo>
                  <a:pt x="382" y="530"/>
                </a:lnTo>
                <a:lnTo>
                  <a:pt x="358" y="522"/>
                </a:lnTo>
                <a:lnTo>
                  <a:pt x="358" y="686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Freeform 4806">
            <a:extLst>
              <a:ext uri="{FF2B5EF4-FFF2-40B4-BE49-F238E27FC236}">
                <a16:creationId xmlns:a16="http://schemas.microsoft.com/office/drawing/2014/main" id="{38E6B7DA-68F5-4465-A327-003B5EC65EA9}"/>
              </a:ext>
            </a:extLst>
          </p:cNvPr>
          <p:cNvSpPr>
            <a:spLocks noEditPoints="1"/>
          </p:cNvSpPr>
          <p:nvPr/>
        </p:nvSpPr>
        <p:spPr bwMode="auto">
          <a:xfrm>
            <a:off x="3832356" y="2740179"/>
            <a:ext cx="219500" cy="213387"/>
          </a:xfrm>
          <a:custGeom>
            <a:avLst/>
            <a:gdLst>
              <a:gd name="T0" fmla="*/ 310 w 364"/>
              <a:gd name="T1" fmla="*/ 104 h 320"/>
              <a:gd name="T2" fmla="*/ 314 w 364"/>
              <a:gd name="T3" fmla="*/ 242 h 320"/>
              <a:gd name="T4" fmla="*/ 304 w 364"/>
              <a:gd name="T5" fmla="*/ 252 h 320"/>
              <a:gd name="T6" fmla="*/ 276 w 364"/>
              <a:gd name="T7" fmla="*/ 248 h 320"/>
              <a:gd name="T8" fmla="*/ 274 w 364"/>
              <a:gd name="T9" fmla="*/ 110 h 320"/>
              <a:gd name="T10" fmla="*/ 284 w 364"/>
              <a:gd name="T11" fmla="*/ 100 h 320"/>
              <a:gd name="T12" fmla="*/ 26 w 364"/>
              <a:gd name="T13" fmla="*/ 66 h 320"/>
              <a:gd name="T14" fmla="*/ 178 w 364"/>
              <a:gd name="T15" fmla="*/ 0 h 320"/>
              <a:gd name="T16" fmla="*/ 180 w 364"/>
              <a:gd name="T17" fmla="*/ 0 h 320"/>
              <a:gd name="T18" fmla="*/ 184 w 364"/>
              <a:gd name="T19" fmla="*/ 0 h 320"/>
              <a:gd name="T20" fmla="*/ 186 w 364"/>
              <a:gd name="T21" fmla="*/ 0 h 320"/>
              <a:gd name="T22" fmla="*/ 332 w 364"/>
              <a:gd name="T23" fmla="*/ 62 h 320"/>
              <a:gd name="T24" fmla="*/ 338 w 364"/>
              <a:gd name="T25" fmla="*/ 74 h 320"/>
              <a:gd name="T26" fmla="*/ 328 w 364"/>
              <a:gd name="T27" fmla="*/ 82 h 320"/>
              <a:gd name="T28" fmla="*/ 36 w 364"/>
              <a:gd name="T29" fmla="*/ 82 h 320"/>
              <a:gd name="T30" fmla="*/ 26 w 364"/>
              <a:gd name="T31" fmla="*/ 72 h 320"/>
              <a:gd name="T32" fmla="*/ 168 w 364"/>
              <a:gd name="T33" fmla="*/ 56 h 320"/>
              <a:gd name="T34" fmla="*/ 190 w 364"/>
              <a:gd name="T35" fmla="*/ 60 h 320"/>
              <a:gd name="T36" fmla="*/ 200 w 364"/>
              <a:gd name="T37" fmla="*/ 42 h 320"/>
              <a:gd name="T38" fmla="*/ 182 w 364"/>
              <a:gd name="T39" fmla="*/ 24 h 320"/>
              <a:gd name="T40" fmla="*/ 164 w 364"/>
              <a:gd name="T41" fmla="*/ 36 h 320"/>
              <a:gd name="T42" fmla="*/ 230 w 364"/>
              <a:gd name="T43" fmla="*/ 252 h 320"/>
              <a:gd name="T44" fmla="*/ 240 w 364"/>
              <a:gd name="T45" fmla="*/ 242 h 320"/>
              <a:gd name="T46" fmla="*/ 236 w 364"/>
              <a:gd name="T47" fmla="*/ 104 h 320"/>
              <a:gd name="T48" fmla="*/ 134 w 364"/>
              <a:gd name="T49" fmla="*/ 100 h 320"/>
              <a:gd name="T50" fmla="*/ 124 w 364"/>
              <a:gd name="T51" fmla="*/ 110 h 320"/>
              <a:gd name="T52" fmla="*/ 128 w 364"/>
              <a:gd name="T53" fmla="*/ 248 h 320"/>
              <a:gd name="T54" fmla="*/ 162 w 364"/>
              <a:gd name="T55" fmla="*/ 170 h 320"/>
              <a:gd name="T56" fmla="*/ 174 w 364"/>
              <a:gd name="T57" fmla="*/ 152 h 320"/>
              <a:gd name="T58" fmla="*/ 196 w 364"/>
              <a:gd name="T59" fmla="*/ 156 h 320"/>
              <a:gd name="T60" fmla="*/ 230 w 364"/>
              <a:gd name="T61" fmla="*/ 252 h 320"/>
              <a:gd name="T62" fmla="*/ 332 w 364"/>
              <a:gd name="T63" fmla="*/ 286 h 320"/>
              <a:gd name="T64" fmla="*/ 338 w 364"/>
              <a:gd name="T65" fmla="*/ 278 h 320"/>
              <a:gd name="T66" fmla="*/ 328 w 364"/>
              <a:gd name="T67" fmla="*/ 268 h 320"/>
              <a:gd name="T68" fmla="*/ 28 w 364"/>
              <a:gd name="T69" fmla="*/ 270 h 320"/>
              <a:gd name="T70" fmla="*/ 26 w 364"/>
              <a:gd name="T71" fmla="*/ 282 h 320"/>
              <a:gd name="T72" fmla="*/ 36 w 364"/>
              <a:gd name="T73" fmla="*/ 288 h 320"/>
              <a:gd name="T74" fmla="*/ 6 w 364"/>
              <a:gd name="T75" fmla="*/ 302 h 320"/>
              <a:gd name="T76" fmla="*/ 0 w 364"/>
              <a:gd name="T77" fmla="*/ 310 h 320"/>
              <a:gd name="T78" fmla="*/ 10 w 364"/>
              <a:gd name="T79" fmla="*/ 320 h 320"/>
              <a:gd name="T80" fmla="*/ 362 w 364"/>
              <a:gd name="T81" fmla="*/ 318 h 320"/>
              <a:gd name="T82" fmla="*/ 364 w 364"/>
              <a:gd name="T83" fmla="*/ 306 h 320"/>
              <a:gd name="T84" fmla="*/ 354 w 364"/>
              <a:gd name="T85" fmla="*/ 300 h 320"/>
              <a:gd name="T86" fmla="*/ 54 w 364"/>
              <a:gd name="T87" fmla="*/ 104 h 320"/>
              <a:gd name="T88" fmla="*/ 50 w 364"/>
              <a:gd name="T89" fmla="*/ 242 h 320"/>
              <a:gd name="T90" fmla="*/ 60 w 364"/>
              <a:gd name="T91" fmla="*/ 252 h 320"/>
              <a:gd name="T92" fmla="*/ 88 w 364"/>
              <a:gd name="T93" fmla="*/ 248 h 320"/>
              <a:gd name="T94" fmla="*/ 90 w 364"/>
              <a:gd name="T95" fmla="*/ 110 h 320"/>
              <a:gd name="T96" fmla="*/ 80 w 364"/>
              <a:gd name="T97" fmla="*/ 10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4" h="320">
                <a:moveTo>
                  <a:pt x="304" y="100"/>
                </a:moveTo>
                <a:lnTo>
                  <a:pt x="304" y="100"/>
                </a:lnTo>
                <a:lnTo>
                  <a:pt x="308" y="102"/>
                </a:lnTo>
                <a:lnTo>
                  <a:pt x="310" y="104"/>
                </a:lnTo>
                <a:lnTo>
                  <a:pt x="312" y="106"/>
                </a:lnTo>
                <a:lnTo>
                  <a:pt x="314" y="110"/>
                </a:lnTo>
                <a:lnTo>
                  <a:pt x="314" y="242"/>
                </a:lnTo>
                <a:lnTo>
                  <a:pt x="314" y="242"/>
                </a:lnTo>
                <a:lnTo>
                  <a:pt x="312" y="246"/>
                </a:lnTo>
                <a:lnTo>
                  <a:pt x="310" y="248"/>
                </a:lnTo>
                <a:lnTo>
                  <a:pt x="308" y="250"/>
                </a:lnTo>
                <a:lnTo>
                  <a:pt x="304" y="252"/>
                </a:lnTo>
                <a:lnTo>
                  <a:pt x="284" y="252"/>
                </a:lnTo>
                <a:lnTo>
                  <a:pt x="284" y="252"/>
                </a:lnTo>
                <a:lnTo>
                  <a:pt x="280" y="250"/>
                </a:lnTo>
                <a:lnTo>
                  <a:pt x="276" y="248"/>
                </a:lnTo>
                <a:lnTo>
                  <a:pt x="274" y="246"/>
                </a:lnTo>
                <a:lnTo>
                  <a:pt x="274" y="242"/>
                </a:lnTo>
                <a:lnTo>
                  <a:pt x="274" y="110"/>
                </a:lnTo>
                <a:lnTo>
                  <a:pt x="274" y="110"/>
                </a:lnTo>
                <a:lnTo>
                  <a:pt x="274" y="106"/>
                </a:lnTo>
                <a:lnTo>
                  <a:pt x="276" y="104"/>
                </a:lnTo>
                <a:lnTo>
                  <a:pt x="280" y="102"/>
                </a:lnTo>
                <a:lnTo>
                  <a:pt x="284" y="100"/>
                </a:lnTo>
                <a:lnTo>
                  <a:pt x="304" y="100"/>
                </a:lnTo>
                <a:close/>
                <a:moveTo>
                  <a:pt x="26" y="72"/>
                </a:moveTo>
                <a:lnTo>
                  <a:pt x="26" y="72"/>
                </a:lnTo>
                <a:lnTo>
                  <a:pt x="26" y="66"/>
                </a:lnTo>
                <a:lnTo>
                  <a:pt x="32" y="62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2" y="0"/>
                </a:lnTo>
                <a:lnTo>
                  <a:pt x="182" y="0"/>
                </a:lnTo>
                <a:lnTo>
                  <a:pt x="184" y="0"/>
                </a:lnTo>
                <a:lnTo>
                  <a:pt x="184" y="0"/>
                </a:lnTo>
                <a:lnTo>
                  <a:pt x="184" y="0"/>
                </a:lnTo>
                <a:lnTo>
                  <a:pt x="184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332" y="62"/>
                </a:lnTo>
                <a:lnTo>
                  <a:pt x="332" y="62"/>
                </a:lnTo>
                <a:lnTo>
                  <a:pt x="336" y="64"/>
                </a:lnTo>
                <a:lnTo>
                  <a:pt x="338" y="72"/>
                </a:lnTo>
                <a:lnTo>
                  <a:pt x="338" y="72"/>
                </a:lnTo>
                <a:lnTo>
                  <a:pt x="338" y="74"/>
                </a:lnTo>
                <a:lnTo>
                  <a:pt x="336" y="78"/>
                </a:lnTo>
                <a:lnTo>
                  <a:pt x="332" y="80"/>
                </a:lnTo>
                <a:lnTo>
                  <a:pt x="328" y="82"/>
                </a:lnTo>
                <a:lnTo>
                  <a:pt x="328" y="82"/>
                </a:lnTo>
                <a:lnTo>
                  <a:pt x="328" y="82"/>
                </a:lnTo>
                <a:lnTo>
                  <a:pt x="182" y="82"/>
                </a:lnTo>
                <a:lnTo>
                  <a:pt x="182" y="82"/>
                </a:lnTo>
                <a:lnTo>
                  <a:pt x="36" y="82"/>
                </a:lnTo>
                <a:lnTo>
                  <a:pt x="36" y="82"/>
                </a:lnTo>
                <a:lnTo>
                  <a:pt x="30" y="78"/>
                </a:lnTo>
                <a:lnTo>
                  <a:pt x="26" y="72"/>
                </a:lnTo>
                <a:lnTo>
                  <a:pt x="26" y="72"/>
                </a:lnTo>
                <a:close/>
                <a:moveTo>
                  <a:pt x="164" y="42"/>
                </a:moveTo>
                <a:lnTo>
                  <a:pt x="164" y="42"/>
                </a:lnTo>
                <a:lnTo>
                  <a:pt x="164" y="50"/>
                </a:lnTo>
                <a:lnTo>
                  <a:pt x="168" y="56"/>
                </a:lnTo>
                <a:lnTo>
                  <a:pt x="174" y="60"/>
                </a:lnTo>
                <a:lnTo>
                  <a:pt x="182" y="62"/>
                </a:lnTo>
                <a:lnTo>
                  <a:pt x="182" y="62"/>
                </a:lnTo>
                <a:lnTo>
                  <a:pt x="190" y="60"/>
                </a:lnTo>
                <a:lnTo>
                  <a:pt x="196" y="56"/>
                </a:lnTo>
                <a:lnTo>
                  <a:pt x="200" y="50"/>
                </a:lnTo>
                <a:lnTo>
                  <a:pt x="200" y="42"/>
                </a:lnTo>
                <a:lnTo>
                  <a:pt x="200" y="42"/>
                </a:lnTo>
                <a:lnTo>
                  <a:pt x="200" y="36"/>
                </a:lnTo>
                <a:lnTo>
                  <a:pt x="196" y="30"/>
                </a:lnTo>
                <a:lnTo>
                  <a:pt x="190" y="26"/>
                </a:lnTo>
                <a:lnTo>
                  <a:pt x="182" y="24"/>
                </a:lnTo>
                <a:lnTo>
                  <a:pt x="182" y="24"/>
                </a:lnTo>
                <a:lnTo>
                  <a:pt x="174" y="26"/>
                </a:lnTo>
                <a:lnTo>
                  <a:pt x="168" y="30"/>
                </a:lnTo>
                <a:lnTo>
                  <a:pt x="164" y="36"/>
                </a:lnTo>
                <a:lnTo>
                  <a:pt x="164" y="42"/>
                </a:lnTo>
                <a:lnTo>
                  <a:pt x="164" y="42"/>
                </a:lnTo>
                <a:close/>
                <a:moveTo>
                  <a:pt x="230" y="252"/>
                </a:moveTo>
                <a:lnTo>
                  <a:pt x="230" y="252"/>
                </a:lnTo>
                <a:lnTo>
                  <a:pt x="234" y="250"/>
                </a:lnTo>
                <a:lnTo>
                  <a:pt x="236" y="248"/>
                </a:lnTo>
                <a:lnTo>
                  <a:pt x="238" y="246"/>
                </a:lnTo>
                <a:lnTo>
                  <a:pt x="240" y="242"/>
                </a:lnTo>
                <a:lnTo>
                  <a:pt x="240" y="110"/>
                </a:lnTo>
                <a:lnTo>
                  <a:pt x="240" y="110"/>
                </a:lnTo>
                <a:lnTo>
                  <a:pt x="238" y="106"/>
                </a:lnTo>
                <a:lnTo>
                  <a:pt x="236" y="104"/>
                </a:lnTo>
                <a:lnTo>
                  <a:pt x="234" y="102"/>
                </a:lnTo>
                <a:lnTo>
                  <a:pt x="230" y="100"/>
                </a:lnTo>
                <a:lnTo>
                  <a:pt x="134" y="100"/>
                </a:lnTo>
                <a:lnTo>
                  <a:pt x="134" y="100"/>
                </a:lnTo>
                <a:lnTo>
                  <a:pt x="130" y="102"/>
                </a:lnTo>
                <a:lnTo>
                  <a:pt x="128" y="104"/>
                </a:lnTo>
                <a:lnTo>
                  <a:pt x="126" y="106"/>
                </a:lnTo>
                <a:lnTo>
                  <a:pt x="124" y="110"/>
                </a:lnTo>
                <a:lnTo>
                  <a:pt x="124" y="242"/>
                </a:lnTo>
                <a:lnTo>
                  <a:pt x="124" y="242"/>
                </a:lnTo>
                <a:lnTo>
                  <a:pt x="126" y="246"/>
                </a:lnTo>
                <a:lnTo>
                  <a:pt x="128" y="248"/>
                </a:lnTo>
                <a:lnTo>
                  <a:pt x="130" y="250"/>
                </a:lnTo>
                <a:lnTo>
                  <a:pt x="134" y="252"/>
                </a:lnTo>
                <a:lnTo>
                  <a:pt x="162" y="252"/>
                </a:lnTo>
                <a:lnTo>
                  <a:pt x="162" y="170"/>
                </a:lnTo>
                <a:lnTo>
                  <a:pt x="162" y="170"/>
                </a:lnTo>
                <a:lnTo>
                  <a:pt x="164" y="162"/>
                </a:lnTo>
                <a:lnTo>
                  <a:pt x="168" y="156"/>
                </a:lnTo>
                <a:lnTo>
                  <a:pt x="174" y="152"/>
                </a:lnTo>
                <a:lnTo>
                  <a:pt x="182" y="150"/>
                </a:lnTo>
                <a:lnTo>
                  <a:pt x="182" y="150"/>
                </a:lnTo>
                <a:lnTo>
                  <a:pt x="190" y="152"/>
                </a:lnTo>
                <a:lnTo>
                  <a:pt x="196" y="156"/>
                </a:lnTo>
                <a:lnTo>
                  <a:pt x="200" y="162"/>
                </a:lnTo>
                <a:lnTo>
                  <a:pt x="202" y="170"/>
                </a:lnTo>
                <a:lnTo>
                  <a:pt x="202" y="252"/>
                </a:lnTo>
                <a:lnTo>
                  <a:pt x="230" y="252"/>
                </a:lnTo>
                <a:close/>
                <a:moveTo>
                  <a:pt x="36" y="288"/>
                </a:moveTo>
                <a:lnTo>
                  <a:pt x="328" y="288"/>
                </a:lnTo>
                <a:lnTo>
                  <a:pt x="328" y="288"/>
                </a:lnTo>
                <a:lnTo>
                  <a:pt x="332" y="286"/>
                </a:lnTo>
                <a:lnTo>
                  <a:pt x="336" y="284"/>
                </a:lnTo>
                <a:lnTo>
                  <a:pt x="338" y="282"/>
                </a:lnTo>
                <a:lnTo>
                  <a:pt x="338" y="278"/>
                </a:lnTo>
                <a:lnTo>
                  <a:pt x="338" y="278"/>
                </a:lnTo>
                <a:lnTo>
                  <a:pt x="338" y="274"/>
                </a:lnTo>
                <a:lnTo>
                  <a:pt x="336" y="270"/>
                </a:lnTo>
                <a:lnTo>
                  <a:pt x="332" y="268"/>
                </a:lnTo>
                <a:lnTo>
                  <a:pt x="328" y="268"/>
                </a:lnTo>
                <a:lnTo>
                  <a:pt x="36" y="268"/>
                </a:lnTo>
                <a:lnTo>
                  <a:pt x="36" y="268"/>
                </a:lnTo>
                <a:lnTo>
                  <a:pt x="32" y="268"/>
                </a:lnTo>
                <a:lnTo>
                  <a:pt x="28" y="270"/>
                </a:lnTo>
                <a:lnTo>
                  <a:pt x="26" y="274"/>
                </a:lnTo>
                <a:lnTo>
                  <a:pt x="26" y="278"/>
                </a:lnTo>
                <a:lnTo>
                  <a:pt x="26" y="278"/>
                </a:lnTo>
                <a:lnTo>
                  <a:pt x="26" y="282"/>
                </a:lnTo>
                <a:lnTo>
                  <a:pt x="28" y="284"/>
                </a:lnTo>
                <a:lnTo>
                  <a:pt x="32" y="286"/>
                </a:lnTo>
                <a:lnTo>
                  <a:pt x="36" y="288"/>
                </a:lnTo>
                <a:lnTo>
                  <a:pt x="36" y="288"/>
                </a:lnTo>
                <a:close/>
                <a:moveTo>
                  <a:pt x="354" y="300"/>
                </a:moveTo>
                <a:lnTo>
                  <a:pt x="10" y="300"/>
                </a:lnTo>
                <a:lnTo>
                  <a:pt x="10" y="300"/>
                </a:lnTo>
                <a:lnTo>
                  <a:pt x="6" y="302"/>
                </a:lnTo>
                <a:lnTo>
                  <a:pt x="2" y="304"/>
                </a:lnTo>
                <a:lnTo>
                  <a:pt x="0" y="306"/>
                </a:lnTo>
                <a:lnTo>
                  <a:pt x="0" y="310"/>
                </a:lnTo>
                <a:lnTo>
                  <a:pt x="0" y="310"/>
                </a:lnTo>
                <a:lnTo>
                  <a:pt x="0" y="314"/>
                </a:lnTo>
                <a:lnTo>
                  <a:pt x="2" y="318"/>
                </a:lnTo>
                <a:lnTo>
                  <a:pt x="6" y="320"/>
                </a:lnTo>
                <a:lnTo>
                  <a:pt x="10" y="320"/>
                </a:lnTo>
                <a:lnTo>
                  <a:pt x="354" y="320"/>
                </a:lnTo>
                <a:lnTo>
                  <a:pt x="354" y="320"/>
                </a:lnTo>
                <a:lnTo>
                  <a:pt x="358" y="320"/>
                </a:lnTo>
                <a:lnTo>
                  <a:pt x="362" y="318"/>
                </a:lnTo>
                <a:lnTo>
                  <a:pt x="364" y="314"/>
                </a:lnTo>
                <a:lnTo>
                  <a:pt x="364" y="310"/>
                </a:lnTo>
                <a:lnTo>
                  <a:pt x="364" y="310"/>
                </a:lnTo>
                <a:lnTo>
                  <a:pt x="364" y="306"/>
                </a:lnTo>
                <a:lnTo>
                  <a:pt x="362" y="304"/>
                </a:lnTo>
                <a:lnTo>
                  <a:pt x="358" y="302"/>
                </a:lnTo>
                <a:lnTo>
                  <a:pt x="354" y="300"/>
                </a:lnTo>
                <a:lnTo>
                  <a:pt x="354" y="300"/>
                </a:lnTo>
                <a:close/>
                <a:moveTo>
                  <a:pt x="60" y="100"/>
                </a:moveTo>
                <a:lnTo>
                  <a:pt x="60" y="100"/>
                </a:lnTo>
                <a:lnTo>
                  <a:pt x="56" y="102"/>
                </a:lnTo>
                <a:lnTo>
                  <a:pt x="54" y="104"/>
                </a:lnTo>
                <a:lnTo>
                  <a:pt x="52" y="106"/>
                </a:lnTo>
                <a:lnTo>
                  <a:pt x="50" y="110"/>
                </a:lnTo>
                <a:lnTo>
                  <a:pt x="50" y="242"/>
                </a:lnTo>
                <a:lnTo>
                  <a:pt x="50" y="242"/>
                </a:lnTo>
                <a:lnTo>
                  <a:pt x="52" y="246"/>
                </a:lnTo>
                <a:lnTo>
                  <a:pt x="54" y="248"/>
                </a:lnTo>
                <a:lnTo>
                  <a:pt x="56" y="250"/>
                </a:lnTo>
                <a:lnTo>
                  <a:pt x="60" y="252"/>
                </a:lnTo>
                <a:lnTo>
                  <a:pt x="80" y="252"/>
                </a:lnTo>
                <a:lnTo>
                  <a:pt x="80" y="252"/>
                </a:lnTo>
                <a:lnTo>
                  <a:pt x="84" y="250"/>
                </a:lnTo>
                <a:lnTo>
                  <a:pt x="88" y="248"/>
                </a:lnTo>
                <a:lnTo>
                  <a:pt x="90" y="246"/>
                </a:lnTo>
                <a:lnTo>
                  <a:pt x="90" y="242"/>
                </a:lnTo>
                <a:lnTo>
                  <a:pt x="90" y="110"/>
                </a:lnTo>
                <a:lnTo>
                  <a:pt x="90" y="110"/>
                </a:lnTo>
                <a:lnTo>
                  <a:pt x="90" y="106"/>
                </a:lnTo>
                <a:lnTo>
                  <a:pt x="88" y="104"/>
                </a:lnTo>
                <a:lnTo>
                  <a:pt x="84" y="102"/>
                </a:lnTo>
                <a:lnTo>
                  <a:pt x="80" y="100"/>
                </a:lnTo>
                <a:lnTo>
                  <a:pt x="60" y="1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A145CE3B-2D6A-4867-82C2-0055CF48D3BF}"/>
              </a:ext>
            </a:extLst>
          </p:cNvPr>
          <p:cNvSpPr txBox="1">
            <a:spLocks/>
          </p:cNvSpPr>
          <p:nvPr/>
        </p:nvSpPr>
        <p:spPr>
          <a:xfrm>
            <a:off x="4175588" y="3166557"/>
            <a:ext cx="2225009" cy="577986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едоставить в РФЦ документы в соответствии с пунктом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4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авил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рганизации и проведения торгов…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>
              <a:lnSpc>
                <a:spcPts val="985"/>
              </a:lnSpc>
            </a:pP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011CAFD-66C1-4826-8A53-4CC4AB6C6CAC}"/>
              </a:ext>
            </a:extLst>
          </p:cNvPr>
          <p:cNvSpPr/>
          <p:nvPr/>
        </p:nvSpPr>
        <p:spPr>
          <a:xfrm>
            <a:off x="3770543" y="3728654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Freeform 4847">
            <a:extLst>
              <a:ext uri="{FF2B5EF4-FFF2-40B4-BE49-F238E27FC236}">
                <a16:creationId xmlns:a16="http://schemas.microsoft.com/office/drawing/2014/main" id="{D72C38BC-F6A7-4172-8E2E-DE8E0F32AC1F}"/>
              </a:ext>
            </a:extLst>
          </p:cNvPr>
          <p:cNvSpPr>
            <a:spLocks noEditPoints="1"/>
          </p:cNvSpPr>
          <p:nvPr/>
        </p:nvSpPr>
        <p:spPr bwMode="auto">
          <a:xfrm>
            <a:off x="3862107" y="3798700"/>
            <a:ext cx="159995" cy="192177"/>
          </a:xfrm>
          <a:custGeom>
            <a:avLst/>
            <a:gdLst>
              <a:gd name="T0" fmla="*/ 252 w 252"/>
              <a:gd name="T1" fmla="*/ 332 h 348"/>
              <a:gd name="T2" fmla="*/ 242 w 252"/>
              <a:gd name="T3" fmla="*/ 346 h 348"/>
              <a:gd name="T4" fmla="*/ 16 w 252"/>
              <a:gd name="T5" fmla="*/ 348 h 348"/>
              <a:gd name="T6" fmla="*/ 2 w 252"/>
              <a:gd name="T7" fmla="*/ 338 h 348"/>
              <a:gd name="T8" fmla="*/ 0 w 252"/>
              <a:gd name="T9" fmla="*/ 32 h 348"/>
              <a:gd name="T10" fmla="*/ 10 w 252"/>
              <a:gd name="T11" fmla="*/ 16 h 348"/>
              <a:gd name="T12" fmla="*/ 90 w 252"/>
              <a:gd name="T13" fmla="*/ 16 h 348"/>
              <a:gd name="T14" fmla="*/ 86 w 252"/>
              <a:gd name="T15" fmla="*/ 30 h 348"/>
              <a:gd name="T16" fmla="*/ 16 w 252"/>
              <a:gd name="T17" fmla="*/ 332 h 348"/>
              <a:gd name="T18" fmla="*/ 168 w 252"/>
              <a:gd name="T19" fmla="*/ 34 h 348"/>
              <a:gd name="T20" fmla="*/ 164 w 252"/>
              <a:gd name="T21" fmla="*/ 26 h 348"/>
              <a:gd name="T22" fmla="*/ 236 w 252"/>
              <a:gd name="T23" fmla="*/ 16 h 348"/>
              <a:gd name="T24" fmla="*/ 248 w 252"/>
              <a:gd name="T25" fmla="*/ 20 h 348"/>
              <a:gd name="T26" fmla="*/ 252 w 252"/>
              <a:gd name="T27" fmla="*/ 32 h 348"/>
              <a:gd name="T28" fmla="*/ 36 w 252"/>
              <a:gd name="T29" fmla="*/ 312 h 348"/>
              <a:gd name="T30" fmla="*/ 36 w 252"/>
              <a:gd name="T31" fmla="*/ 94 h 348"/>
              <a:gd name="T32" fmla="*/ 216 w 252"/>
              <a:gd name="T33" fmla="*/ 94 h 348"/>
              <a:gd name="T34" fmla="*/ 132 w 252"/>
              <a:gd name="T35" fmla="*/ 186 h 348"/>
              <a:gd name="T36" fmla="*/ 122 w 252"/>
              <a:gd name="T37" fmla="*/ 184 h 348"/>
              <a:gd name="T38" fmla="*/ 74 w 252"/>
              <a:gd name="T39" fmla="*/ 206 h 348"/>
              <a:gd name="T40" fmla="*/ 68 w 252"/>
              <a:gd name="T41" fmla="*/ 204 h 348"/>
              <a:gd name="T42" fmla="*/ 60 w 252"/>
              <a:gd name="T43" fmla="*/ 206 h 348"/>
              <a:gd name="T44" fmla="*/ 58 w 252"/>
              <a:gd name="T45" fmla="*/ 218 h 348"/>
              <a:gd name="T46" fmla="*/ 78 w 252"/>
              <a:gd name="T47" fmla="*/ 238 h 348"/>
              <a:gd name="T48" fmla="*/ 86 w 252"/>
              <a:gd name="T49" fmla="*/ 242 h 348"/>
              <a:gd name="T50" fmla="*/ 132 w 252"/>
              <a:gd name="T51" fmla="*/ 200 h 348"/>
              <a:gd name="T52" fmla="*/ 134 w 252"/>
              <a:gd name="T53" fmla="*/ 192 h 348"/>
              <a:gd name="T54" fmla="*/ 132 w 252"/>
              <a:gd name="T55" fmla="*/ 186 h 348"/>
              <a:gd name="T56" fmla="*/ 128 w 252"/>
              <a:gd name="T57" fmla="*/ 122 h 348"/>
              <a:gd name="T58" fmla="*/ 118 w 252"/>
              <a:gd name="T59" fmla="*/ 124 h 348"/>
              <a:gd name="T60" fmla="*/ 74 w 252"/>
              <a:gd name="T61" fmla="*/ 144 h 348"/>
              <a:gd name="T62" fmla="*/ 64 w 252"/>
              <a:gd name="T63" fmla="*/ 142 h 348"/>
              <a:gd name="T64" fmla="*/ 58 w 252"/>
              <a:gd name="T65" fmla="*/ 148 h 348"/>
              <a:gd name="T66" fmla="*/ 60 w 252"/>
              <a:gd name="T67" fmla="*/ 158 h 348"/>
              <a:gd name="T68" fmla="*/ 82 w 252"/>
              <a:gd name="T69" fmla="*/ 180 h 348"/>
              <a:gd name="T70" fmla="*/ 90 w 252"/>
              <a:gd name="T71" fmla="*/ 180 h 348"/>
              <a:gd name="T72" fmla="*/ 132 w 252"/>
              <a:gd name="T73" fmla="*/ 138 h 348"/>
              <a:gd name="T74" fmla="*/ 134 w 252"/>
              <a:gd name="T75" fmla="*/ 126 h 348"/>
              <a:gd name="T76" fmla="*/ 36 w 252"/>
              <a:gd name="T77" fmla="*/ 64 h 348"/>
              <a:gd name="T78" fmla="*/ 40 w 252"/>
              <a:gd name="T79" fmla="*/ 54 h 348"/>
              <a:gd name="T80" fmla="*/ 78 w 252"/>
              <a:gd name="T81" fmla="*/ 48 h 348"/>
              <a:gd name="T82" fmla="*/ 94 w 252"/>
              <a:gd name="T83" fmla="*/ 42 h 348"/>
              <a:gd name="T84" fmla="*/ 100 w 252"/>
              <a:gd name="T85" fmla="*/ 26 h 348"/>
              <a:gd name="T86" fmla="*/ 116 w 252"/>
              <a:gd name="T87" fmla="*/ 2 h 348"/>
              <a:gd name="T88" fmla="*/ 136 w 252"/>
              <a:gd name="T89" fmla="*/ 2 h 348"/>
              <a:gd name="T90" fmla="*/ 152 w 252"/>
              <a:gd name="T91" fmla="*/ 26 h 348"/>
              <a:gd name="T92" fmla="*/ 158 w 252"/>
              <a:gd name="T93" fmla="*/ 42 h 348"/>
              <a:gd name="T94" fmla="*/ 200 w 252"/>
              <a:gd name="T95" fmla="*/ 48 h 348"/>
              <a:gd name="T96" fmla="*/ 212 w 252"/>
              <a:gd name="T97" fmla="*/ 54 h 348"/>
              <a:gd name="T98" fmla="*/ 216 w 252"/>
              <a:gd name="T99" fmla="*/ 78 h 348"/>
              <a:gd name="T100" fmla="*/ 36 w 252"/>
              <a:gd name="T101" fmla="*/ 82 h 348"/>
              <a:gd name="T102" fmla="*/ 36 w 252"/>
              <a:gd name="T103" fmla="*/ 64 h 348"/>
              <a:gd name="T104" fmla="*/ 116 w 252"/>
              <a:gd name="T105" fmla="*/ 30 h 348"/>
              <a:gd name="T106" fmla="*/ 126 w 252"/>
              <a:gd name="T107" fmla="*/ 38 h 348"/>
              <a:gd name="T108" fmla="*/ 134 w 252"/>
              <a:gd name="T109" fmla="*/ 34 h 348"/>
              <a:gd name="T110" fmla="*/ 136 w 252"/>
              <a:gd name="T111" fmla="*/ 26 h 348"/>
              <a:gd name="T112" fmla="*/ 130 w 252"/>
              <a:gd name="T113" fmla="*/ 16 h 348"/>
              <a:gd name="T114" fmla="*/ 122 w 252"/>
              <a:gd name="T115" fmla="*/ 16 h 348"/>
              <a:gd name="T116" fmla="*/ 116 w 252"/>
              <a:gd name="T117" fmla="*/ 26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2" h="348">
                <a:moveTo>
                  <a:pt x="252" y="32"/>
                </a:moveTo>
                <a:lnTo>
                  <a:pt x="252" y="332"/>
                </a:lnTo>
                <a:lnTo>
                  <a:pt x="252" y="332"/>
                </a:lnTo>
                <a:lnTo>
                  <a:pt x="250" y="338"/>
                </a:lnTo>
                <a:lnTo>
                  <a:pt x="248" y="344"/>
                </a:lnTo>
                <a:lnTo>
                  <a:pt x="242" y="346"/>
                </a:lnTo>
                <a:lnTo>
                  <a:pt x="236" y="348"/>
                </a:lnTo>
                <a:lnTo>
                  <a:pt x="16" y="348"/>
                </a:lnTo>
                <a:lnTo>
                  <a:pt x="16" y="348"/>
                </a:lnTo>
                <a:lnTo>
                  <a:pt x="10" y="346"/>
                </a:lnTo>
                <a:lnTo>
                  <a:pt x="4" y="344"/>
                </a:lnTo>
                <a:lnTo>
                  <a:pt x="2" y="338"/>
                </a:lnTo>
                <a:lnTo>
                  <a:pt x="0" y="332"/>
                </a:lnTo>
                <a:lnTo>
                  <a:pt x="0" y="32"/>
                </a:lnTo>
                <a:lnTo>
                  <a:pt x="0" y="32"/>
                </a:lnTo>
                <a:lnTo>
                  <a:pt x="2" y="26"/>
                </a:lnTo>
                <a:lnTo>
                  <a:pt x="4" y="20"/>
                </a:lnTo>
                <a:lnTo>
                  <a:pt x="10" y="16"/>
                </a:lnTo>
                <a:lnTo>
                  <a:pt x="16" y="16"/>
                </a:lnTo>
                <a:lnTo>
                  <a:pt x="90" y="16"/>
                </a:lnTo>
                <a:lnTo>
                  <a:pt x="90" y="16"/>
                </a:lnTo>
                <a:lnTo>
                  <a:pt x="88" y="26"/>
                </a:lnTo>
                <a:lnTo>
                  <a:pt x="88" y="26"/>
                </a:lnTo>
                <a:lnTo>
                  <a:pt x="86" y="30"/>
                </a:lnTo>
                <a:lnTo>
                  <a:pt x="84" y="34"/>
                </a:lnTo>
                <a:lnTo>
                  <a:pt x="16" y="34"/>
                </a:lnTo>
                <a:lnTo>
                  <a:pt x="16" y="332"/>
                </a:lnTo>
                <a:lnTo>
                  <a:pt x="236" y="332"/>
                </a:lnTo>
                <a:lnTo>
                  <a:pt x="236" y="34"/>
                </a:lnTo>
                <a:lnTo>
                  <a:pt x="168" y="34"/>
                </a:lnTo>
                <a:lnTo>
                  <a:pt x="168" y="34"/>
                </a:lnTo>
                <a:lnTo>
                  <a:pt x="166" y="30"/>
                </a:lnTo>
                <a:lnTo>
                  <a:pt x="164" y="26"/>
                </a:lnTo>
                <a:lnTo>
                  <a:pt x="164" y="26"/>
                </a:lnTo>
                <a:lnTo>
                  <a:pt x="162" y="16"/>
                </a:lnTo>
                <a:lnTo>
                  <a:pt x="236" y="16"/>
                </a:lnTo>
                <a:lnTo>
                  <a:pt x="236" y="16"/>
                </a:lnTo>
                <a:lnTo>
                  <a:pt x="242" y="16"/>
                </a:lnTo>
                <a:lnTo>
                  <a:pt x="248" y="20"/>
                </a:lnTo>
                <a:lnTo>
                  <a:pt x="250" y="26"/>
                </a:lnTo>
                <a:lnTo>
                  <a:pt x="252" y="32"/>
                </a:lnTo>
                <a:lnTo>
                  <a:pt x="252" y="32"/>
                </a:lnTo>
                <a:close/>
                <a:moveTo>
                  <a:pt x="216" y="94"/>
                </a:moveTo>
                <a:lnTo>
                  <a:pt x="216" y="312"/>
                </a:lnTo>
                <a:lnTo>
                  <a:pt x="36" y="312"/>
                </a:lnTo>
                <a:lnTo>
                  <a:pt x="36" y="94"/>
                </a:lnTo>
                <a:lnTo>
                  <a:pt x="36" y="94"/>
                </a:lnTo>
                <a:lnTo>
                  <a:pt x="3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close/>
                <a:moveTo>
                  <a:pt x="132" y="186"/>
                </a:moveTo>
                <a:lnTo>
                  <a:pt x="132" y="186"/>
                </a:lnTo>
                <a:lnTo>
                  <a:pt x="128" y="184"/>
                </a:lnTo>
                <a:lnTo>
                  <a:pt x="124" y="182"/>
                </a:lnTo>
                <a:lnTo>
                  <a:pt x="122" y="184"/>
                </a:lnTo>
                <a:lnTo>
                  <a:pt x="118" y="186"/>
                </a:lnTo>
                <a:lnTo>
                  <a:pt x="86" y="218"/>
                </a:lnTo>
                <a:lnTo>
                  <a:pt x="74" y="206"/>
                </a:lnTo>
                <a:lnTo>
                  <a:pt x="74" y="206"/>
                </a:lnTo>
                <a:lnTo>
                  <a:pt x="70" y="204"/>
                </a:lnTo>
                <a:lnTo>
                  <a:pt x="68" y="204"/>
                </a:lnTo>
                <a:lnTo>
                  <a:pt x="64" y="204"/>
                </a:lnTo>
                <a:lnTo>
                  <a:pt x="60" y="206"/>
                </a:lnTo>
                <a:lnTo>
                  <a:pt x="60" y="206"/>
                </a:lnTo>
                <a:lnTo>
                  <a:pt x="58" y="210"/>
                </a:lnTo>
                <a:lnTo>
                  <a:pt x="58" y="214"/>
                </a:lnTo>
                <a:lnTo>
                  <a:pt x="58" y="218"/>
                </a:lnTo>
                <a:lnTo>
                  <a:pt x="60" y="220"/>
                </a:lnTo>
                <a:lnTo>
                  <a:pt x="78" y="238"/>
                </a:lnTo>
                <a:lnTo>
                  <a:pt x="78" y="238"/>
                </a:lnTo>
                <a:lnTo>
                  <a:pt x="82" y="242"/>
                </a:lnTo>
                <a:lnTo>
                  <a:pt x="86" y="242"/>
                </a:lnTo>
                <a:lnTo>
                  <a:pt x="86" y="242"/>
                </a:lnTo>
                <a:lnTo>
                  <a:pt x="90" y="242"/>
                </a:lnTo>
                <a:lnTo>
                  <a:pt x="92" y="238"/>
                </a:lnTo>
                <a:lnTo>
                  <a:pt x="132" y="200"/>
                </a:lnTo>
                <a:lnTo>
                  <a:pt x="132" y="200"/>
                </a:lnTo>
                <a:lnTo>
                  <a:pt x="134" y="196"/>
                </a:lnTo>
                <a:lnTo>
                  <a:pt x="134" y="192"/>
                </a:lnTo>
                <a:lnTo>
                  <a:pt x="134" y="188"/>
                </a:lnTo>
                <a:lnTo>
                  <a:pt x="132" y="186"/>
                </a:lnTo>
                <a:lnTo>
                  <a:pt x="132" y="186"/>
                </a:lnTo>
                <a:close/>
                <a:moveTo>
                  <a:pt x="132" y="124"/>
                </a:moveTo>
                <a:lnTo>
                  <a:pt x="132" y="124"/>
                </a:lnTo>
                <a:lnTo>
                  <a:pt x="128" y="122"/>
                </a:lnTo>
                <a:lnTo>
                  <a:pt x="124" y="120"/>
                </a:lnTo>
                <a:lnTo>
                  <a:pt x="122" y="122"/>
                </a:lnTo>
                <a:lnTo>
                  <a:pt x="118" y="124"/>
                </a:lnTo>
                <a:lnTo>
                  <a:pt x="86" y="156"/>
                </a:lnTo>
                <a:lnTo>
                  <a:pt x="74" y="144"/>
                </a:lnTo>
                <a:lnTo>
                  <a:pt x="74" y="144"/>
                </a:lnTo>
                <a:lnTo>
                  <a:pt x="70" y="142"/>
                </a:lnTo>
                <a:lnTo>
                  <a:pt x="68" y="142"/>
                </a:lnTo>
                <a:lnTo>
                  <a:pt x="64" y="142"/>
                </a:lnTo>
                <a:lnTo>
                  <a:pt x="60" y="144"/>
                </a:lnTo>
                <a:lnTo>
                  <a:pt x="60" y="144"/>
                </a:lnTo>
                <a:lnTo>
                  <a:pt x="58" y="148"/>
                </a:lnTo>
                <a:lnTo>
                  <a:pt x="58" y="152"/>
                </a:lnTo>
                <a:lnTo>
                  <a:pt x="58" y="156"/>
                </a:lnTo>
                <a:lnTo>
                  <a:pt x="60" y="158"/>
                </a:lnTo>
                <a:lnTo>
                  <a:pt x="78" y="178"/>
                </a:lnTo>
                <a:lnTo>
                  <a:pt x="78" y="178"/>
                </a:lnTo>
                <a:lnTo>
                  <a:pt x="82" y="180"/>
                </a:lnTo>
                <a:lnTo>
                  <a:pt x="86" y="180"/>
                </a:lnTo>
                <a:lnTo>
                  <a:pt x="86" y="180"/>
                </a:lnTo>
                <a:lnTo>
                  <a:pt x="90" y="180"/>
                </a:lnTo>
                <a:lnTo>
                  <a:pt x="92" y="178"/>
                </a:lnTo>
                <a:lnTo>
                  <a:pt x="132" y="138"/>
                </a:lnTo>
                <a:lnTo>
                  <a:pt x="132" y="138"/>
                </a:lnTo>
                <a:lnTo>
                  <a:pt x="134" y="134"/>
                </a:lnTo>
                <a:lnTo>
                  <a:pt x="134" y="130"/>
                </a:lnTo>
                <a:lnTo>
                  <a:pt x="134" y="126"/>
                </a:lnTo>
                <a:lnTo>
                  <a:pt x="132" y="124"/>
                </a:lnTo>
                <a:lnTo>
                  <a:pt x="132" y="124"/>
                </a:lnTo>
                <a:close/>
                <a:moveTo>
                  <a:pt x="36" y="64"/>
                </a:moveTo>
                <a:lnTo>
                  <a:pt x="36" y="64"/>
                </a:lnTo>
                <a:lnTo>
                  <a:pt x="36" y="58"/>
                </a:lnTo>
                <a:lnTo>
                  <a:pt x="40" y="54"/>
                </a:lnTo>
                <a:lnTo>
                  <a:pt x="46" y="50"/>
                </a:lnTo>
                <a:lnTo>
                  <a:pt x="52" y="48"/>
                </a:lnTo>
                <a:lnTo>
                  <a:pt x="78" y="48"/>
                </a:lnTo>
                <a:lnTo>
                  <a:pt x="78" y="48"/>
                </a:lnTo>
                <a:lnTo>
                  <a:pt x="86" y="46"/>
                </a:lnTo>
                <a:lnTo>
                  <a:pt x="94" y="42"/>
                </a:lnTo>
                <a:lnTo>
                  <a:pt x="98" y="36"/>
                </a:lnTo>
                <a:lnTo>
                  <a:pt x="100" y="26"/>
                </a:lnTo>
                <a:lnTo>
                  <a:pt x="100" y="26"/>
                </a:lnTo>
                <a:lnTo>
                  <a:pt x="102" y="16"/>
                </a:lnTo>
                <a:lnTo>
                  <a:pt x="108" y="8"/>
                </a:lnTo>
                <a:lnTo>
                  <a:pt x="116" y="2"/>
                </a:lnTo>
                <a:lnTo>
                  <a:pt x="126" y="0"/>
                </a:lnTo>
                <a:lnTo>
                  <a:pt x="126" y="0"/>
                </a:lnTo>
                <a:lnTo>
                  <a:pt x="136" y="2"/>
                </a:lnTo>
                <a:lnTo>
                  <a:pt x="144" y="8"/>
                </a:lnTo>
                <a:lnTo>
                  <a:pt x="150" y="16"/>
                </a:lnTo>
                <a:lnTo>
                  <a:pt x="152" y="26"/>
                </a:lnTo>
                <a:lnTo>
                  <a:pt x="152" y="26"/>
                </a:lnTo>
                <a:lnTo>
                  <a:pt x="154" y="36"/>
                </a:lnTo>
                <a:lnTo>
                  <a:pt x="158" y="42"/>
                </a:lnTo>
                <a:lnTo>
                  <a:pt x="166" y="46"/>
                </a:lnTo>
                <a:lnTo>
                  <a:pt x="174" y="48"/>
                </a:lnTo>
                <a:lnTo>
                  <a:pt x="200" y="48"/>
                </a:lnTo>
                <a:lnTo>
                  <a:pt x="200" y="48"/>
                </a:lnTo>
                <a:lnTo>
                  <a:pt x="206" y="50"/>
                </a:lnTo>
                <a:lnTo>
                  <a:pt x="212" y="54"/>
                </a:lnTo>
                <a:lnTo>
                  <a:pt x="216" y="58"/>
                </a:lnTo>
                <a:lnTo>
                  <a:pt x="216" y="64"/>
                </a:lnTo>
                <a:lnTo>
                  <a:pt x="216" y="78"/>
                </a:lnTo>
                <a:lnTo>
                  <a:pt x="216" y="78"/>
                </a:lnTo>
                <a:lnTo>
                  <a:pt x="216" y="82"/>
                </a:lnTo>
                <a:lnTo>
                  <a:pt x="36" y="82"/>
                </a:lnTo>
                <a:lnTo>
                  <a:pt x="36" y="82"/>
                </a:lnTo>
                <a:lnTo>
                  <a:pt x="36" y="78"/>
                </a:lnTo>
                <a:lnTo>
                  <a:pt x="36" y="64"/>
                </a:lnTo>
                <a:close/>
                <a:moveTo>
                  <a:pt x="116" y="26"/>
                </a:moveTo>
                <a:lnTo>
                  <a:pt x="116" y="26"/>
                </a:lnTo>
                <a:lnTo>
                  <a:pt x="116" y="30"/>
                </a:lnTo>
                <a:lnTo>
                  <a:pt x="118" y="34"/>
                </a:lnTo>
                <a:lnTo>
                  <a:pt x="122" y="36"/>
                </a:lnTo>
                <a:lnTo>
                  <a:pt x="126" y="38"/>
                </a:lnTo>
                <a:lnTo>
                  <a:pt x="126" y="38"/>
                </a:lnTo>
                <a:lnTo>
                  <a:pt x="130" y="36"/>
                </a:lnTo>
                <a:lnTo>
                  <a:pt x="134" y="34"/>
                </a:lnTo>
                <a:lnTo>
                  <a:pt x="136" y="30"/>
                </a:lnTo>
                <a:lnTo>
                  <a:pt x="136" y="26"/>
                </a:lnTo>
                <a:lnTo>
                  <a:pt x="136" y="26"/>
                </a:lnTo>
                <a:lnTo>
                  <a:pt x="136" y="22"/>
                </a:lnTo>
                <a:lnTo>
                  <a:pt x="134" y="20"/>
                </a:lnTo>
                <a:lnTo>
                  <a:pt x="130" y="16"/>
                </a:lnTo>
                <a:lnTo>
                  <a:pt x="126" y="16"/>
                </a:lnTo>
                <a:lnTo>
                  <a:pt x="126" y="16"/>
                </a:lnTo>
                <a:lnTo>
                  <a:pt x="122" y="16"/>
                </a:lnTo>
                <a:lnTo>
                  <a:pt x="118" y="20"/>
                </a:lnTo>
                <a:lnTo>
                  <a:pt x="116" y="22"/>
                </a:lnTo>
                <a:lnTo>
                  <a:pt x="116" y="26"/>
                </a:lnTo>
                <a:lnTo>
                  <a:pt x="116" y="2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Прямоугольник 3"/>
          <p:cNvSpPr/>
          <p:nvPr/>
        </p:nvSpPr>
        <p:spPr>
          <a:xfrm>
            <a:off x="4113605" y="3610597"/>
            <a:ext cx="270724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жегодно подтверждать договорную электрическую мощность, путем прохождения аттестаци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Oval 37">
            <a:extLst>
              <a:ext uri="{FF2B5EF4-FFF2-40B4-BE49-F238E27FC236}">
                <a16:creationId xmlns:a16="http://schemas.microsoft.com/office/drawing/2014/main" id="{B011CAFD-66C1-4826-8A53-4CC4AB6C6CAC}"/>
              </a:ext>
            </a:extLst>
          </p:cNvPr>
          <p:cNvSpPr/>
          <p:nvPr/>
        </p:nvSpPr>
        <p:spPr>
          <a:xfrm>
            <a:off x="3775970" y="4229626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Freeform 4847">
            <a:extLst>
              <a:ext uri="{FF2B5EF4-FFF2-40B4-BE49-F238E27FC236}">
                <a16:creationId xmlns:a16="http://schemas.microsoft.com/office/drawing/2014/main" id="{D72C38BC-F6A7-4172-8E2E-DE8E0F32AC1F}"/>
              </a:ext>
            </a:extLst>
          </p:cNvPr>
          <p:cNvSpPr>
            <a:spLocks noEditPoints="1"/>
          </p:cNvSpPr>
          <p:nvPr/>
        </p:nvSpPr>
        <p:spPr bwMode="auto">
          <a:xfrm>
            <a:off x="3873392" y="4298149"/>
            <a:ext cx="159995" cy="192177"/>
          </a:xfrm>
          <a:custGeom>
            <a:avLst/>
            <a:gdLst>
              <a:gd name="T0" fmla="*/ 252 w 252"/>
              <a:gd name="T1" fmla="*/ 332 h 348"/>
              <a:gd name="T2" fmla="*/ 242 w 252"/>
              <a:gd name="T3" fmla="*/ 346 h 348"/>
              <a:gd name="T4" fmla="*/ 16 w 252"/>
              <a:gd name="T5" fmla="*/ 348 h 348"/>
              <a:gd name="T6" fmla="*/ 2 w 252"/>
              <a:gd name="T7" fmla="*/ 338 h 348"/>
              <a:gd name="T8" fmla="*/ 0 w 252"/>
              <a:gd name="T9" fmla="*/ 32 h 348"/>
              <a:gd name="T10" fmla="*/ 10 w 252"/>
              <a:gd name="T11" fmla="*/ 16 h 348"/>
              <a:gd name="T12" fmla="*/ 90 w 252"/>
              <a:gd name="T13" fmla="*/ 16 h 348"/>
              <a:gd name="T14" fmla="*/ 86 w 252"/>
              <a:gd name="T15" fmla="*/ 30 h 348"/>
              <a:gd name="T16" fmla="*/ 16 w 252"/>
              <a:gd name="T17" fmla="*/ 332 h 348"/>
              <a:gd name="T18" fmla="*/ 168 w 252"/>
              <a:gd name="T19" fmla="*/ 34 h 348"/>
              <a:gd name="T20" fmla="*/ 164 w 252"/>
              <a:gd name="T21" fmla="*/ 26 h 348"/>
              <a:gd name="T22" fmla="*/ 236 w 252"/>
              <a:gd name="T23" fmla="*/ 16 h 348"/>
              <a:gd name="T24" fmla="*/ 248 w 252"/>
              <a:gd name="T25" fmla="*/ 20 h 348"/>
              <a:gd name="T26" fmla="*/ 252 w 252"/>
              <a:gd name="T27" fmla="*/ 32 h 348"/>
              <a:gd name="T28" fmla="*/ 36 w 252"/>
              <a:gd name="T29" fmla="*/ 312 h 348"/>
              <a:gd name="T30" fmla="*/ 36 w 252"/>
              <a:gd name="T31" fmla="*/ 94 h 348"/>
              <a:gd name="T32" fmla="*/ 216 w 252"/>
              <a:gd name="T33" fmla="*/ 94 h 348"/>
              <a:gd name="T34" fmla="*/ 132 w 252"/>
              <a:gd name="T35" fmla="*/ 186 h 348"/>
              <a:gd name="T36" fmla="*/ 122 w 252"/>
              <a:gd name="T37" fmla="*/ 184 h 348"/>
              <a:gd name="T38" fmla="*/ 74 w 252"/>
              <a:gd name="T39" fmla="*/ 206 h 348"/>
              <a:gd name="T40" fmla="*/ 68 w 252"/>
              <a:gd name="T41" fmla="*/ 204 h 348"/>
              <a:gd name="T42" fmla="*/ 60 w 252"/>
              <a:gd name="T43" fmla="*/ 206 h 348"/>
              <a:gd name="T44" fmla="*/ 58 w 252"/>
              <a:gd name="T45" fmla="*/ 218 h 348"/>
              <a:gd name="T46" fmla="*/ 78 w 252"/>
              <a:gd name="T47" fmla="*/ 238 h 348"/>
              <a:gd name="T48" fmla="*/ 86 w 252"/>
              <a:gd name="T49" fmla="*/ 242 h 348"/>
              <a:gd name="T50" fmla="*/ 132 w 252"/>
              <a:gd name="T51" fmla="*/ 200 h 348"/>
              <a:gd name="T52" fmla="*/ 134 w 252"/>
              <a:gd name="T53" fmla="*/ 192 h 348"/>
              <a:gd name="T54" fmla="*/ 132 w 252"/>
              <a:gd name="T55" fmla="*/ 186 h 348"/>
              <a:gd name="T56" fmla="*/ 128 w 252"/>
              <a:gd name="T57" fmla="*/ 122 h 348"/>
              <a:gd name="T58" fmla="*/ 118 w 252"/>
              <a:gd name="T59" fmla="*/ 124 h 348"/>
              <a:gd name="T60" fmla="*/ 74 w 252"/>
              <a:gd name="T61" fmla="*/ 144 h 348"/>
              <a:gd name="T62" fmla="*/ 64 w 252"/>
              <a:gd name="T63" fmla="*/ 142 h 348"/>
              <a:gd name="T64" fmla="*/ 58 w 252"/>
              <a:gd name="T65" fmla="*/ 148 h 348"/>
              <a:gd name="T66" fmla="*/ 60 w 252"/>
              <a:gd name="T67" fmla="*/ 158 h 348"/>
              <a:gd name="T68" fmla="*/ 82 w 252"/>
              <a:gd name="T69" fmla="*/ 180 h 348"/>
              <a:gd name="T70" fmla="*/ 90 w 252"/>
              <a:gd name="T71" fmla="*/ 180 h 348"/>
              <a:gd name="T72" fmla="*/ 132 w 252"/>
              <a:gd name="T73" fmla="*/ 138 h 348"/>
              <a:gd name="T74" fmla="*/ 134 w 252"/>
              <a:gd name="T75" fmla="*/ 126 h 348"/>
              <a:gd name="T76" fmla="*/ 36 w 252"/>
              <a:gd name="T77" fmla="*/ 64 h 348"/>
              <a:gd name="T78" fmla="*/ 40 w 252"/>
              <a:gd name="T79" fmla="*/ 54 h 348"/>
              <a:gd name="T80" fmla="*/ 78 w 252"/>
              <a:gd name="T81" fmla="*/ 48 h 348"/>
              <a:gd name="T82" fmla="*/ 94 w 252"/>
              <a:gd name="T83" fmla="*/ 42 h 348"/>
              <a:gd name="T84" fmla="*/ 100 w 252"/>
              <a:gd name="T85" fmla="*/ 26 h 348"/>
              <a:gd name="T86" fmla="*/ 116 w 252"/>
              <a:gd name="T87" fmla="*/ 2 h 348"/>
              <a:gd name="T88" fmla="*/ 136 w 252"/>
              <a:gd name="T89" fmla="*/ 2 h 348"/>
              <a:gd name="T90" fmla="*/ 152 w 252"/>
              <a:gd name="T91" fmla="*/ 26 h 348"/>
              <a:gd name="T92" fmla="*/ 158 w 252"/>
              <a:gd name="T93" fmla="*/ 42 h 348"/>
              <a:gd name="T94" fmla="*/ 200 w 252"/>
              <a:gd name="T95" fmla="*/ 48 h 348"/>
              <a:gd name="T96" fmla="*/ 212 w 252"/>
              <a:gd name="T97" fmla="*/ 54 h 348"/>
              <a:gd name="T98" fmla="*/ 216 w 252"/>
              <a:gd name="T99" fmla="*/ 78 h 348"/>
              <a:gd name="T100" fmla="*/ 36 w 252"/>
              <a:gd name="T101" fmla="*/ 82 h 348"/>
              <a:gd name="T102" fmla="*/ 36 w 252"/>
              <a:gd name="T103" fmla="*/ 64 h 348"/>
              <a:gd name="T104" fmla="*/ 116 w 252"/>
              <a:gd name="T105" fmla="*/ 30 h 348"/>
              <a:gd name="T106" fmla="*/ 126 w 252"/>
              <a:gd name="T107" fmla="*/ 38 h 348"/>
              <a:gd name="T108" fmla="*/ 134 w 252"/>
              <a:gd name="T109" fmla="*/ 34 h 348"/>
              <a:gd name="T110" fmla="*/ 136 w 252"/>
              <a:gd name="T111" fmla="*/ 26 h 348"/>
              <a:gd name="T112" fmla="*/ 130 w 252"/>
              <a:gd name="T113" fmla="*/ 16 h 348"/>
              <a:gd name="T114" fmla="*/ 122 w 252"/>
              <a:gd name="T115" fmla="*/ 16 h 348"/>
              <a:gd name="T116" fmla="*/ 116 w 252"/>
              <a:gd name="T117" fmla="*/ 26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2" h="348">
                <a:moveTo>
                  <a:pt x="252" y="32"/>
                </a:moveTo>
                <a:lnTo>
                  <a:pt x="252" y="332"/>
                </a:lnTo>
                <a:lnTo>
                  <a:pt x="252" y="332"/>
                </a:lnTo>
                <a:lnTo>
                  <a:pt x="250" y="338"/>
                </a:lnTo>
                <a:lnTo>
                  <a:pt x="248" y="344"/>
                </a:lnTo>
                <a:lnTo>
                  <a:pt x="242" y="346"/>
                </a:lnTo>
                <a:lnTo>
                  <a:pt x="236" y="348"/>
                </a:lnTo>
                <a:lnTo>
                  <a:pt x="16" y="348"/>
                </a:lnTo>
                <a:lnTo>
                  <a:pt x="16" y="348"/>
                </a:lnTo>
                <a:lnTo>
                  <a:pt x="10" y="346"/>
                </a:lnTo>
                <a:lnTo>
                  <a:pt x="4" y="344"/>
                </a:lnTo>
                <a:lnTo>
                  <a:pt x="2" y="338"/>
                </a:lnTo>
                <a:lnTo>
                  <a:pt x="0" y="332"/>
                </a:lnTo>
                <a:lnTo>
                  <a:pt x="0" y="32"/>
                </a:lnTo>
                <a:lnTo>
                  <a:pt x="0" y="32"/>
                </a:lnTo>
                <a:lnTo>
                  <a:pt x="2" y="26"/>
                </a:lnTo>
                <a:lnTo>
                  <a:pt x="4" y="20"/>
                </a:lnTo>
                <a:lnTo>
                  <a:pt x="10" y="16"/>
                </a:lnTo>
                <a:lnTo>
                  <a:pt x="16" y="16"/>
                </a:lnTo>
                <a:lnTo>
                  <a:pt x="90" y="16"/>
                </a:lnTo>
                <a:lnTo>
                  <a:pt x="90" y="16"/>
                </a:lnTo>
                <a:lnTo>
                  <a:pt x="88" y="26"/>
                </a:lnTo>
                <a:lnTo>
                  <a:pt x="88" y="26"/>
                </a:lnTo>
                <a:lnTo>
                  <a:pt x="86" y="30"/>
                </a:lnTo>
                <a:lnTo>
                  <a:pt x="84" y="34"/>
                </a:lnTo>
                <a:lnTo>
                  <a:pt x="16" y="34"/>
                </a:lnTo>
                <a:lnTo>
                  <a:pt x="16" y="332"/>
                </a:lnTo>
                <a:lnTo>
                  <a:pt x="236" y="332"/>
                </a:lnTo>
                <a:lnTo>
                  <a:pt x="236" y="34"/>
                </a:lnTo>
                <a:lnTo>
                  <a:pt x="168" y="34"/>
                </a:lnTo>
                <a:lnTo>
                  <a:pt x="168" y="34"/>
                </a:lnTo>
                <a:lnTo>
                  <a:pt x="166" y="30"/>
                </a:lnTo>
                <a:lnTo>
                  <a:pt x="164" y="26"/>
                </a:lnTo>
                <a:lnTo>
                  <a:pt x="164" y="26"/>
                </a:lnTo>
                <a:lnTo>
                  <a:pt x="162" y="16"/>
                </a:lnTo>
                <a:lnTo>
                  <a:pt x="236" y="16"/>
                </a:lnTo>
                <a:lnTo>
                  <a:pt x="236" y="16"/>
                </a:lnTo>
                <a:lnTo>
                  <a:pt x="242" y="16"/>
                </a:lnTo>
                <a:lnTo>
                  <a:pt x="248" y="20"/>
                </a:lnTo>
                <a:lnTo>
                  <a:pt x="250" y="26"/>
                </a:lnTo>
                <a:lnTo>
                  <a:pt x="252" y="32"/>
                </a:lnTo>
                <a:lnTo>
                  <a:pt x="252" y="32"/>
                </a:lnTo>
                <a:close/>
                <a:moveTo>
                  <a:pt x="216" y="94"/>
                </a:moveTo>
                <a:lnTo>
                  <a:pt x="216" y="312"/>
                </a:lnTo>
                <a:lnTo>
                  <a:pt x="36" y="312"/>
                </a:lnTo>
                <a:lnTo>
                  <a:pt x="36" y="94"/>
                </a:lnTo>
                <a:lnTo>
                  <a:pt x="36" y="94"/>
                </a:lnTo>
                <a:lnTo>
                  <a:pt x="3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close/>
                <a:moveTo>
                  <a:pt x="132" y="186"/>
                </a:moveTo>
                <a:lnTo>
                  <a:pt x="132" y="186"/>
                </a:lnTo>
                <a:lnTo>
                  <a:pt x="128" y="184"/>
                </a:lnTo>
                <a:lnTo>
                  <a:pt x="124" y="182"/>
                </a:lnTo>
                <a:lnTo>
                  <a:pt x="122" y="184"/>
                </a:lnTo>
                <a:lnTo>
                  <a:pt x="118" y="186"/>
                </a:lnTo>
                <a:lnTo>
                  <a:pt x="86" y="218"/>
                </a:lnTo>
                <a:lnTo>
                  <a:pt x="74" y="206"/>
                </a:lnTo>
                <a:lnTo>
                  <a:pt x="74" y="206"/>
                </a:lnTo>
                <a:lnTo>
                  <a:pt x="70" y="204"/>
                </a:lnTo>
                <a:lnTo>
                  <a:pt x="68" y="204"/>
                </a:lnTo>
                <a:lnTo>
                  <a:pt x="64" y="204"/>
                </a:lnTo>
                <a:lnTo>
                  <a:pt x="60" y="206"/>
                </a:lnTo>
                <a:lnTo>
                  <a:pt x="60" y="206"/>
                </a:lnTo>
                <a:lnTo>
                  <a:pt x="58" y="210"/>
                </a:lnTo>
                <a:lnTo>
                  <a:pt x="58" y="214"/>
                </a:lnTo>
                <a:lnTo>
                  <a:pt x="58" y="218"/>
                </a:lnTo>
                <a:lnTo>
                  <a:pt x="60" y="220"/>
                </a:lnTo>
                <a:lnTo>
                  <a:pt x="78" y="238"/>
                </a:lnTo>
                <a:lnTo>
                  <a:pt x="78" y="238"/>
                </a:lnTo>
                <a:lnTo>
                  <a:pt x="82" y="242"/>
                </a:lnTo>
                <a:lnTo>
                  <a:pt x="86" y="242"/>
                </a:lnTo>
                <a:lnTo>
                  <a:pt x="86" y="242"/>
                </a:lnTo>
                <a:lnTo>
                  <a:pt x="90" y="242"/>
                </a:lnTo>
                <a:lnTo>
                  <a:pt x="92" y="238"/>
                </a:lnTo>
                <a:lnTo>
                  <a:pt x="132" y="200"/>
                </a:lnTo>
                <a:lnTo>
                  <a:pt x="132" y="200"/>
                </a:lnTo>
                <a:lnTo>
                  <a:pt x="134" y="196"/>
                </a:lnTo>
                <a:lnTo>
                  <a:pt x="134" y="192"/>
                </a:lnTo>
                <a:lnTo>
                  <a:pt x="134" y="188"/>
                </a:lnTo>
                <a:lnTo>
                  <a:pt x="132" y="186"/>
                </a:lnTo>
                <a:lnTo>
                  <a:pt x="132" y="186"/>
                </a:lnTo>
                <a:close/>
                <a:moveTo>
                  <a:pt x="132" y="124"/>
                </a:moveTo>
                <a:lnTo>
                  <a:pt x="132" y="124"/>
                </a:lnTo>
                <a:lnTo>
                  <a:pt x="128" y="122"/>
                </a:lnTo>
                <a:lnTo>
                  <a:pt x="124" y="120"/>
                </a:lnTo>
                <a:lnTo>
                  <a:pt x="122" y="122"/>
                </a:lnTo>
                <a:lnTo>
                  <a:pt x="118" y="124"/>
                </a:lnTo>
                <a:lnTo>
                  <a:pt x="86" y="156"/>
                </a:lnTo>
                <a:lnTo>
                  <a:pt x="74" y="144"/>
                </a:lnTo>
                <a:lnTo>
                  <a:pt x="74" y="144"/>
                </a:lnTo>
                <a:lnTo>
                  <a:pt x="70" y="142"/>
                </a:lnTo>
                <a:lnTo>
                  <a:pt x="68" y="142"/>
                </a:lnTo>
                <a:lnTo>
                  <a:pt x="64" y="142"/>
                </a:lnTo>
                <a:lnTo>
                  <a:pt x="60" y="144"/>
                </a:lnTo>
                <a:lnTo>
                  <a:pt x="60" y="144"/>
                </a:lnTo>
                <a:lnTo>
                  <a:pt x="58" y="148"/>
                </a:lnTo>
                <a:lnTo>
                  <a:pt x="58" y="152"/>
                </a:lnTo>
                <a:lnTo>
                  <a:pt x="58" y="156"/>
                </a:lnTo>
                <a:lnTo>
                  <a:pt x="60" y="158"/>
                </a:lnTo>
                <a:lnTo>
                  <a:pt x="78" y="178"/>
                </a:lnTo>
                <a:lnTo>
                  <a:pt x="78" y="178"/>
                </a:lnTo>
                <a:lnTo>
                  <a:pt x="82" y="180"/>
                </a:lnTo>
                <a:lnTo>
                  <a:pt x="86" y="180"/>
                </a:lnTo>
                <a:lnTo>
                  <a:pt x="86" y="180"/>
                </a:lnTo>
                <a:lnTo>
                  <a:pt x="90" y="180"/>
                </a:lnTo>
                <a:lnTo>
                  <a:pt x="92" y="178"/>
                </a:lnTo>
                <a:lnTo>
                  <a:pt x="132" y="138"/>
                </a:lnTo>
                <a:lnTo>
                  <a:pt x="132" y="138"/>
                </a:lnTo>
                <a:lnTo>
                  <a:pt x="134" y="134"/>
                </a:lnTo>
                <a:lnTo>
                  <a:pt x="134" y="130"/>
                </a:lnTo>
                <a:lnTo>
                  <a:pt x="134" y="126"/>
                </a:lnTo>
                <a:lnTo>
                  <a:pt x="132" y="124"/>
                </a:lnTo>
                <a:lnTo>
                  <a:pt x="132" y="124"/>
                </a:lnTo>
                <a:close/>
                <a:moveTo>
                  <a:pt x="36" y="64"/>
                </a:moveTo>
                <a:lnTo>
                  <a:pt x="36" y="64"/>
                </a:lnTo>
                <a:lnTo>
                  <a:pt x="36" y="58"/>
                </a:lnTo>
                <a:lnTo>
                  <a:pt x="40" y="54"/>
                </a:lnTo>
                <a:lnTo>
                  <a:pt x="46" y="50"/>
                </a:lnTo>
                <a:lnTo>
                  <a:pt x="52" y="48"/>
                </a:lnTo>
                <a:lnTo>
                  <a:pt x="78" y="48"/>
                </a:lnTo>
                <a:lnTo>
                  <a:pt x="78" y="48"/>
                </a:lnTo>
                <a:lnTo>
                  <a:pt x="86" y="46"/>
                </a:lnTo>
                <a:lnTo>
                  <a:pt x="94" y="42"/>
                </a:lnTo>
                <a:lnTo>
                  <a:pt x="98" y="36"/>
                </a:lnTo>
                <a:lnTo>
                  <a:pt x="100" y="26"/>
                </a:lnTo>
                <a:lnTo>
                  <a:pt x="100" y="26"/>
                </a:lnTo>
                <a:lnTo>
                  <a:pt x="102" y="16"/>
                </a:lnTo>
                <a:lnTo>
                  <a:pt x="108" y="8"/>
                </a:lnTo>
                <a:lnTo>
                  <a:pt x="116" y="2"/>
                </a:lnTo>
                <a:lnTo>
                  <a:pt x="126" y="0"/>
                </a:lnTo>
                <a:lnTo>
                  <a:pt x="126" y="0"/>
                </a:lnTo>
                <a:lnTo>
                  <a:pt x="136" y="2"/>
                </a:lnTo>
                <a:lnTo>
                  <a:pt x="144" y="8"/>
                </a:lnTo>
                <a:lnTo>
                  <a:pt x="150" y="16"/>
                </a:lnTo>
                <a:lnTo>
                  <a:pt x="152" y="26"/>
                </a:lnTo>
                <a:lnTo>
                  <a:pt x="152" y="26"/>
                </a:lnTo>
                <a:lnTo>
                  <a:pt x="154" y="36"/>
                </a:lnTo>
                <a:lnTo>
                  <a:pt x="158" y="42"/>
                </a:lnTo>
                <a:lnTo>
                  <a:pt x="166" y="46"/>
                </a:lnTo>
                <a:lnTo>
                  <a:pt x="174" y="48"/>
                </a:lnTo>
                <a:lnTo>
                  <a:pt x="200" y="48"/>
                </a:lnTo>
                <a:lnTo>
                  <a:pt x="200" y="48"/>
                </a:lnTo>
                <a:lnTo>
                  <a:pt x="206" y="50"/>
                </a:lnTo>
                <a:lnTo>
                  <a:pt x="212" y="54"/>
                </a:lnTo>
                <a:lnTo>
                  <a:pt x="216" y="58"/>
                </a:lnTo>
                <a:lnTo>
                  <a:pt x="216" y="64"/>
                </a:lnTo>
                <a:lnTo>
                  <a:pt x="216" y="78"/>
                </a:lnTo>
                <a:lnTo>
                  <a:pt x="216" y="78"/>
                </a:lnTo>
                <a:lnTo>
                  <a:pt x="216" y="82"/>
                </a:lnTo>
                <a:lnTo>
                  <a:pt x="36" y="82"/>
                </a:lnTo>
                <a:lnTo>
                  <a:pt x="36" y="82"/>
                </a:lnTo>
                <a:lnTo>
                  <a:pt x="36" y="78"/>
                </a:lnTo>
                <a:lnTo>
                  <a:pt x="36" y="64"/>
                </a:lnTo>
                <a:close/>
                <a:moveTo>
                  <a:pt x="116" y="26"/>
                </a:moveTo>
                <a:lnTo>
                  <a:pt x="116" y="26"/>
                </a:lnTo>
                <a:lnTo>
                  <a:pt x="116" y="30"/>
                </a:lnTo>
                <a:lnTo>
                  <a:pt x="118" y="34"/>
                </a:lnTo>
                <a:lnTo>
                  <a:pt x="122" y="36"/>
                </a:lnTo>
                <a:lnTo>
                  <a:pt x="126" y="38"/>
                </a:lnTo>
                <a:lnTo>
                  <a:pt x="126" y="38"/>
                </a:lnTo>
                <a:lnTo>
                  <a:pt x="130" y="36"/>
                </a:lnTo>
                <a:lnTo>
                  <a:pt x="134" y="34"/>
                </a:lnTo>
                <a:lnTo>
                  <a:pt x="136" y="30"/>
                </a:lnTo>
                <a:lnTo>
                  <a:pt x="136" y="26"/>
                </a:lnTo>
                <a:lnTo>
                  <a:pt x="136" y="26"/>
                </a:lnTo>
                <a:lnTo>
                  <a:pt x="136" y="22"/>
                </a:lnTo>
                <a:lnTo>
                  <a:pt x="134" y="20"/>
                </a:lnTo>
                <a:lnTo>
                  <a:pt x="130" y="16"/>
                </a:lnTo>
                <a:lnTo>
                  <a:pt x="126" y="16"/>
                </a:lnTo>
                <a:lnTo>
                  <a:pt x="126" y="16"/>
                </a:lnTo>
                <a:lnTo>
                  <a:pt x="122" y="16"/>
                </a:lnTo>
                <a:lnTo>
                  <a:pt x="118" y="20"/>
                </a:lnTo>
                <a:lnTo>
                  <a:pt x="116" y="22"/>
                </a:lnTo>
                <a:lnTo>
                  <a:pt x="116" y="26"/>
                </a:lnTo>
                <a:lnTo>
                  <a:pt x="116" y="2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9821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04800" y="2290794"/>
            <a:ext cx="8058268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schemeClr val="accent2"/>
                </a:solidFill>
                <a:latin typeface="Century Gothic" panose="020B0502020202020204" pitchFamily="34" charset="0"/>
                <a:cs typeface="Times New Roman" pitchFamily="18" charset="0"/>
              </a:defRPr>
            </a:lvl1pPr>
          </a:lstStyle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kk-KZ" sz="36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пасибо</a:t>
            </a:r>
            <a:r>
              <a:rPr lang="kk-KZ" sz="7200" spc="-50" dirty="0" smtClean="0">
                <a:latin typeface="Times New Roman" pitchFamily="18" charset="0"/>
              </a:rPr>
              <a:t> </a:t>
            </a:r>
            <a:r>
              <a:rPr lang="kk-KZ" sz="36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 внимание!</a:t>
            </a:r>
            <a:endParaRPr lang="ru-RU" sz="36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7946" y="4206701"/>
            <a:ext cx="6676269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k-KZ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онтакты </a:t>
            </a:r>
            <a:r>
              <a:rPr lang="kk-KZ" sz="1050" b="1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тветственных лиц </a:t>
            </a:r>
            <a:r>
              <a:rPr lang="kk-KZ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</a:t>
            </a:r>
            <a:r>
              <a:rPr lang="ru-RU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«РФЦ по ВИЭ»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алимова Асель Нурлановна 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– </a:t>
            </a:r>
            <a:r>
              <a:rPr lang="ru-RU" sz="105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иректор департамента договоров, +7 (7172) 690-509;</a:t>
            </a:r>
            <a:endParaRPr lang="ru-RU" sz="105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хметова Замира Акимжановна 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– начальник отдела </a:t>
            </a:r>
            <a:r>
              <a:rPr lang="ru-RU" sz="105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ланирования департамента развития и </a:t>
            </a:r>
            <a:r>
              <a:rPr lang="ru-RU" sz="105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ланирования,              +7 (7172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 </a:t>
            </a:r>
            <a:r>
              <a:rPr lang="ru-RU" sz="105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90-106</a:t>
            </a:r>
            <a:endParaRPr lang="ru-RU" sz="105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  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363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001_PowerPoint_Template_Final_150831_5b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EBF3AEE4A77B44A810F4CB853ED4C9" ma:contentTypeVersion="1" ma:contentTypeDescription="Create a new document." ma:contentTypeScope="" ma:versionID="d648df4436b1048f876ecdd750c54924">
  <xsd:schema xmlns:xsd="http://www.w3.org/2001/XMLSchema" xmlns:xs="http://www.w3.org/2001/XMLSchema" xmlns:p="http://schemas.microsoft.com/office/2006/metadata/properties" xmlns:ns3="82ea72d5-e212-44f1-91f2-984106b5ea37" targetNamespace="http://schemas.microsoft.com/office/2006/metadata/properties" ma:root="true" ma:fieldsID="44cc7c2f22bd9e9bc17df8cc1c74acf3" ns3:_="">
    <xsd:import namespace="82ea72d5-e212-44f1-91f2-984106b5ea37"/>
    <xsd:element name="properties">
      <xsd:complexType>
        <xsd:sequence>
          <xsd:element name="documentManagement">
            <xsd:complexType>
              <xsd:all>
                <xsd:element ref="ns3: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ea72d5-e212-44f1-91f2-984106b5ea37" elementFormDefault="qualified">
    <xsd:import namespace="http://schemas.microsoft.com/office/2006/documentManagement/types"/>
    <xsd:import namespace="http://schemas.microsoft.com/office/infopath/2007/PartnerControls"/>
    <xsd:element name="ExpirationDate" ma:index="8" nillable="true" ma:displayName="Expiration Date" ma:format="DateOnly" ma:internalName="Expiration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pirationDate xmlns="82ea72d5-e212-44f1-91f2-984106b5ea37">2019-05-29T22:00:00+00:00</ExpirationDat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DB0902-2811-48BC-995B-DBCBE83F49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ea72d5-e212-44f1-91f2-984106b5ea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716AA0F-33B5-48C4-9522-1AADEF75903A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82ea72d5-e212-44f1-91f2-984106b5ea37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E8D8821A-86B8-428D-8C5C-65B1C87254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0</TotalTime>
  <Words>809</Words>
  <Application>Microsoft Office PowerPoint</Application>
  <PresentationFormat>Произвольный</PresentationFormat>
  <Paragraphs>106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3" baseType="lpstr">
      <vt:lpstr>Arial</vt:lpstr>
      <vt:lpstr>Calibri</vt:lpstr>
      <vt:lpstr>Calibri Light</vt:lpstr>
      <vt:lpstr>Century Gothic</vt:lpstr>
      <vt:lpstr>Georgia</vt:lpstr>
      <vt:lpstr>Helvetica Neue</vt:lpstr>
      <vt:lpstr>Lato Light</vt:lpstr>
      <vt:lpstr>League Spartan</vt:lpstr>
      <vt:lpstr>Open Sans Light</vt:lpstr>
      <vt:lpstr>Times New Roman</vt:lpstr>
      <vt:lpstr>Wingdings</vt:lpstr>
      <vt:lpstr>PWC001_PowerPoint_Template_Final_150831_5b</vt:lpstr>
      <vt:lpstr>Custom Design</vt:lpstr>
      <vt:lpstr>think-cell Slide</vt:lpstr>
      <vt:lpstr>Порядок заключения и исполнения условий договора о покупке электрической мощности с Единым закупщиком</vt:lpstr>
      <vt:lpstr>Презентация PowerPoint</vt:lpstr>
      <vt:lpstr>О финансовом обеспечен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9-01T14:13:27Z</dcterms:created>
  <dcterms:modified xsi:type="dcterms:W3CDTF">2022-06-01T08:2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EBF3AEE4A77B44A810F4CB853ED4C9</vt:lpwstr>
  </property>
  <property fmtid="{D5CDD505-2E9C-101B-9397-08002B2CF9AE}" pid="3" name="IsMyDocuments">
    <vt:bool>true</vt:bool>
  </property>
</Properties>
</file>